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3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24"/>
  </p:notesMasterIdLst>
  <p:handoutMasterIdLst>
    <p:handoutMasterId r:id="rId25"/>
  </p:handoutMasterIdLst>
  <p:sldIdLst>
    <p:sldId id="281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  <p14:sldId id="257"/>
          </p14:sldIdLst>
        </p14:section>
        <p14:section name="Section 1" id="{2A7242DC-929E-4579-8F10-2B02EF80F144}">
          <p14:sldIdLst>
            <p14:sldId id="258"/>
            <p14:sldId id="259"/>
            <p14:sldId id="260"/>
          </p14:sldIdLst>
        </p14:section>
        <p14:section name="Section 2" id="{166B4E13-456F-4DE7-8043-47B198AC9D32}">
          <p14:sldIdLst>
            <p14:sldId id="261"/>
            <p14:sldId id="262"/>
          </p14:sldIdLst>
        </p14:section>
        <p14:section name="Section 3" id="{FD1E6B44-63E4-4285-A079-29EC5D274920}">
          <p14:sldIdLst>
            <p14:sldId id="263"/>
            <p14:sldId id="264"/>
            <p14:sldId id="265"/>
          </p14:sldIdLst>
        </p14:section>
        <p14:section name="Section 4" id="{BD0AB789-343F-4F3E-AB6C-9DEB37B93BF8}">
          <p14:sldIdLst>
            <p14:sldId id="266"/>
            <p14:sldId id="267"/>
          </p14:sldIdLst>
        </p14:section>
        <p14:section name="Section 5" id="{24425DB3-8D9B-4B7E-A827-C8885314BFAE}">
          <p14:sldIdLst>
            <p14:sldId id="268"/>
            <p14:sldId id="269"/>
            <p14:sldId id="270"/>
          </p14:sldIdLst>
        </p14:section>
        <p14:section name="Section 6" id="{D8347770-5590-4D60-AD07-395E00E4A5B4}">
          <p14:sldIdLst>
            <p14:sldId id="271"/>
          </p14:sldIdLst>
        </p14:section>
        <p14:section name="Section 7" id="{6166B4CC-CA49-40F5-A1F9-C46A2E7E6AAE}">
          <p14:sldIdLst>
            <p14:sldId id="272"/>
            <p14:sldId id="273"/>
            <p14:sldId id="274"/>
          </p14:sldIdLst>
        </p14:section>
        <p14:section name="Section 8" id="{8355E7C8-F29E-45A3-97E6-C2F99725F3FF}">
          <p14:sldIdLst>
            <p14:sldId id="275"/>
            <p14:sldId id="276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8" autoAdjust="0"/>
    <p:restoredTop sz="94660"/>
  </p:normalViewPr>
  <p:slideViewPr>
    <p:cSldViewPr snapToGrid="0" showGuides="1">
      <p:cViewPr varScale="1">
        <p:scale>
          <a:sx n="85" d="100"/>
          <a:sy n="85" d="100"/>
        </p:scale>
        <p:origin x="84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84-4B78-A1FB-81DDD78D7C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84-4B78-A1FB-81DDD78D7C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84-4B78-A1FB-81DDD78D7C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9692800"/>
        <c:axId val="887699520"/>
      </c:barChart>
      <c:catAx>
        <c:axId val="179692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7699520"/>
        <c:crosses val="autoZero"/>
        <c:auto val="1"/>
        <c:lblAlgn val="ctr"/>
        <c:lblOffset val="100"/>
        <c:noMultiLvlLbl val="0"/>
      </c:catAx>
      <c:valAx>
        <c:axId val="887699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9692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84-4B78-A1FB-81DDD78D7C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84-4B78-A1FB-81DDD78D7C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84-4B78-A1FB-81DDD78D7C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9692800"/>
        <c:axId val="887699520"/>
      </c:barChart>
      <c:catAx>
        <c:axId val="179692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7699520"/>
        <c:crosses val="autoZero"/>
        <c:auto val="1"/>
        <c:lblAlgn val="ctr"/>
        <c:lblOffset val="100"/>
        <c:noMultiLvlLbl val="0"/>
      </c:catAx>
      <c:valAx>
        <c:axId val="88769952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9692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21-440A-9049-E36F08205D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1-440A-9049-E36F08205D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21-440A-9049-E36F08205D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16"/>
        <c:axId val="2009030159"/>
        <c:axId val="1986091919"/>
      </c:barChart>
      <c:catAx>
        <c:axId val="200903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6091919"/>
        <c:crosses val="autoZero"/>
        <c:auto val="1"/>
        <c:lblAlgn val="ctr"/>
        <c:lblOffset val="100"/>
        <c:noMultiLvlLbl val="0"/>
      </c:catAx>
      <c:valAx>
        <c:axId val="1986091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9030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numCol="1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numCol="1"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90-49CB-A960-137CA42F0B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90-49CB-A960-137CA42F0B5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890-49CB-A960-137CA42F0B54}"/>
              </c:ext>
            </c:extLst>
          </c:dPt>
          <c:dPt>
            <c:idx val="3"/>
            <c:bubble3D val="0"/>
            <c:spPr>
              <a:solidFill>
                <a:schemeClr val="bg2">
                  <a:lumMod val="75000"/>
                  <a:lumOff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314-446B-A006-7B86ECC1A59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</c:v>
                </c:pt>
                <c:pt idx="1">
                  <c:v>0.2</c:v>
                </c:pt>
                <c:pt idx="2">
                  <c:v>0.1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4-446B-A006-7B86ECC1A5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9/19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9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09348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31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9/19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  <p:sldLayoutId id="2147483656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svg"/><Relationship Id="rId12" Type="http://schemas.openxmlformats.org/officeDocument/2006/relationships/image" Target="../media/image3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5.png"/><Relationship Id="rId11" Type="http://schemas.openxmlformats.org/officeDocument/2006/relationships/image" Target="../media/image35.svg"/><Relationship Id="rId5" Type="http://schemas.openxmlformats.org/officeDocument/2006/relationships/image" Target="../media/image3.emf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slide" Target="slide13.xml"/><Relationship Id="rId26" Type="http://schemas.openxmlformats.org/officeDocument/2006/relationships/image" Target="../media/image10.png"/><Relationship Id="rId39" Type="http://schemas.openxmlformats.org/officeDocument/2006/relationships/slide" Target="slide20.xml"/><Relationship Id="rId21" Type="http://schemas.openxmlformats.org/officeDocument/2006/relationships/slide" Target="slide16.xml"/><Relationship Id="rId34" Type="http://schemas.openxmlformats.org/officeDocument/2006/relationships/image" Target="../media/image120.png"/><Relationship Id="rId42" Type="http://schemas.openxmlformats.org/officeDocument/2006/relationships/slide" Target="slide22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6" Type="http://schemas.openxmlformats.org/officeDocument/2006/relationships/image" Target="../media/image60.png"/><Relationship Id="rId20" Type="http://schemas.openxmlformats.org/officeDocument/2006/relationships/image" Target="../media/image8.png"/><Relationship Id="rId29" Type="http://schemas.openxmlformats.org/officeDocument/2006/relationships/image" Target="../media/image11.png"/><Relationship Id="rId41" Type="http://schemas.openxmlformats.org/officeDocument/2006/relationships/image" Target="../media/image15.png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png"/><Relationship Id="rId24" Type="http://schemas.openxmlformats.org/officeDocument/2006/relationships/slide" Target="slide3.xml"/><Relationship Id="rId32" Type="http://schemas.openxmlformats.org/officeDocument/2006/relationships/image" Target="../media/image12.png"/><Relationship Id="rId37" Type="http://schemas.openxmlformats.org/officeDocument/2006/relationships/image" Target="../media/image130.png"/><Relationship Id="rId40" Type="http://schemas.openxmlformats.org/officeDocument/2006/relationships/image" Target="../media/image140.png"/><Relationship Id="rId5" Type="http://schemas.openxmlformats.org/officeDocument/2006/relationships/notesSlide" Target="../notesSlides/notesSlide1.xml"/><Relationship Id="rId15" Type="http://schemas.openxmlformats.org/officeDocument/2006/relationships/slide" Target="slide11.xml"/><Relationship Id="rId23" Type="http://schemas.openxmlformats.org/officeDocument/2006/relationships/image" Target="../media/image9.png"/><Relationship Id="rId28" Type="http://schemas.openxmlformats.org/officeDocument/2006/relationships/image" Target="../media/image100.png"/><Relationship Id="rId36" Type="http://schemas.openxmlformats.org/officeDocument/2006/relationships/slide" Target="slide19.xml"/><Relationship Id="rId10" Type="http://schemas.openxmlformats.org/officeDocument/2006/relationships/slide" Target="slide6.xml"/><Relationship Id="rId19" Type="http://schemas.openxmlformats.org/officeDocument/2006/relationships/image" Target="../media/image70.png"/><Relationship Id="rId31" Type="http://schemas.openxmlformats.org/officeDocument/2006/relationships/image" Target="../media/image1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0.png"/><Relationship Id="rId14" Type="http://schemas.openxmlformats.org/officeDocument/2006/relationships/image" Target="../media/image6.png"/><Relationship Id="rId22" Type="http://schemas.openxmlformats.org/officeDocument/2006/relationships/image" Target="../media/image80.png"/><Relationship Id="rId27" Type="http://schemas.openxmlformats.org/officeDocument/2006/relationships/slide" Target="slide4.xml"/><Relationship Id="rId30" Type="http://schemas.openxmlformats.org/officeDocument/2006/relationships/slide" Target="slide5.xml"/><Relationship Id="rId35" Type="http://schemas.openxmlformats.org/officeDocument/2006/relationships/image" Target="../media/image13.png"/><Relationship Id="rId43" Type="http://schemas.openxmlformats.org/officeDocument/2006/relationships/image" Target="../media/image150.png"/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12" Type="http://schemas.openxmlformats.org/officeDocument/2006/relationships/slide" Target="slide8.xml"/><Relationship Id="rId17" Type="http://schemas.openxmlformats.org/officeDocument/2006/relationships/image" Target="../media/image7.png"/><Relationship Id="rId25" Type="http://schemas.openxmlformats.org/officeDocument/2006/relationships/image" Target="../media/image90.png"/><Relationship Id="rId33" Type="http://schemas.openxmlformats.org/officeDocument/2006/relationships/slide" Target="slide18.xml"/><Relationship Id="rId38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5.xml"/><Relationship Id="rId7" Type="http://schemas.openxmlformats.org/officeDocument/2006/relationships/chart" Target="../charts/chart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863600" y="3429000"/>
            <a:ext cx="10749280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9600" dirty="0">
                <a:solidFill>
                  <a:schemeClr val="tx1"/>
                </a:solidFill>
              </a:rPr>
              <a:t>ZOOM</a:t>
            </a:r>
          </a:p>
          <a:p>
            <a:pPr lvl="1">
              <a:lnSpc>
                <a:spcPct val="80000"/>
              </a:lnSpc>
            </a:pPr>
            <a:r>
              <a:rPr lang="en-US" sz="7200" dirty="0">
                <a:solidFill>
                  <a:schemeClr val="accent1"/>
                </a:solidFill>
              </a:rPr>
              <a:t>MOOD BOAR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384509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ALL CAPS | LO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TEXT HERE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079B8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84087C-95F7-481E-AB38-E0F9F79989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130" t="24550" r="50815" b="9259"/>
          <a:stretch/>
        </p:blipFill>
        <p:spPr>
          <a:xfrm>
            <a:off x="484536" y="1683655"/>
            <a:ext cx="4531902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384509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B225B"/>
                </a:solidFill>
              </a:rPr>
              <a:t>ALL CAPS | LOOS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467948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PICTURE OR STANDAR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765303" y="1916569"/>
            <a:ext cx="433069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XT HERE</a:t>
            </a:r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TEXT HER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A11B48"/>
              </a:gs>
              <a:gs pos="100000">
                <a:srgbClr val="CB22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0912" y="994640"/>
            <a:ext cx="747510" cy="747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355917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ALL CAPS | LOOS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499232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PICTURE OR STANDAR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bg2">
                    <a:lumMod val="90000"/>
                    <a:lumOff val="10000"/>
                  </a:schemeClr>
                </a:solidFill>
              </a:rPr>
              <a:t>TEXT HERE</a:t>
            </a:r>
            <a:endParaRPr lang="de-DE" altLang="de-DE" dirty="0">
              <a:solidFill>
                <a:schemeClr val="bg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86177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8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TEXT HERE</a:t>
            </a:r>
            <a:endParaRPr lang="de-DE" altLang="de-DE" sz="2800" dirty="0">
              <a:solidFill>
                <a:schemeClr val="bg2">
                  <a:lumMod val="90000"/>
                  <a:lumOff val="10000"/>
                </a:schemeClr>
              </a:solidFill>
            </a:endParaRPr>
          </a:p>
          <a:p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056757"/>
              </a:gs>
              <a:gs pos="100000">
                <a:srgbClr val="079B8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46262" y="994640"/>
            <a:ext cx="747510" cy="7475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5195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96" t="2963" r="13696"/>
          <a:stretch/>
        </p:blipFill>
        <p:spPr>
          <a:xfrm>
            <a:off x="4562787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28" t="19258" r="2728" b="17777"/>
          <a:stretch/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7318" t="29394" r="10667" b="7722"/>
          <a:stretch/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94" t="10778" r="25169"/>
          <a:stretch/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824" b="18695"/>
          <a:stretch/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30404" y="1564429"/>
            <a:ext cx="153118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HEADLINE 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198565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08945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4672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27457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5535267" y="5488001"/>
            <a:ext cx="132632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/>
              <a:t>TEXT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28" t="19258" r="2728" b="17777"/>
          <a:stretch/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7318" t="29394" r="10667" b="7722"/>
          <a:stretch/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94" t="10778" r="25169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824" b="18695"/>
          <a:stretch/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2164444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C1B3-9CB2-4DE2-962F-1347A5CE3270}"/>
              </a:ext>
            </a:extLst>
          </p:cNvPr>
          <p:cNvSpPr txBox="1"/>
          <p:nvPr/>
        </p:nvSpPr>
        <p:spPr>
          <a:xfrm>
            <a:off x="-4686208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270331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2811F9-C8E0-4B49-81F8-EF83D0F4C578}"/>
              </a:ext>
            </a:extLst>
          </p:cNvPr>
          <p:cNvSpPr txBox="1"/>
          <p:nvPr/>
        </p:nvSpPr>
        <p:spPr>
          <a:xfrm>
            <a:off x="15227486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28" t="19258" r="2728" b="17777"/>
          <a:stretch/>
        </p:blipFill>
        <p:spPr>
          <a:xfrm>
            <a:off x="4562787" y="2223722"/>
            <a:ext cx="3074930" cy="306977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194" t="10778" r="25169"/>
          <a:stretch/>
        </p:blipFill>
        <p:spPr>
          <a:xfrm>
            <a:off x="2142843" y="2223722"/>
            <a:ext cx="2239563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8824" b="18695"/>
          <a:stretch/>
        </p:blipFill>
        <p:spPr>
          <a:xfrm>
            <a:off x="137218" y="2223722"/>
            <a:ext cx="182088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696" t="2963" r="13696"/>
          <a:stretch/>
        </p:blipFill>
        <p:spPr>
          <a:xfrm>
            <a:off x="7822460" y="2223723"/>
            <a:ext cx="222901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7318" t="29394" r="10667" b="7722"/>
          <a:stretch/>
        </p:blipFill>
        <p:spPr>
          <a:xfrm>
            <a:off x="10237705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8824" b="18695"/>
          <a:stretch/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30404" y="1564429"/>
            <a:ext cx="153118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HEADLINE 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16197" y="1564429"/>
            <a:ext cx="143071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11350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2267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27457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140197" y="5441819"/>
            <a:ext cx="391160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TEXT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28" t="19258" r="2728" b="17777"/>
          <a:stretch/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7318" t="29394" r="10667" b="7722"/>
          <a:stretch/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194" t="10778" r="25169"/>
          <a:stretch/>
        </p:blipFill>
        <p:spPr>
          <a:xfrm>
            <a:off x="1494343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C60FF7-E22A-4382-B3B4-E1CE88AE15D7}"/>
              </a:ext>
            </a:extLst>
          </p:cNvPr>
          <p:cNvSpPr txBox="1"/>
          <p:nvPr/>
        </p:nvSpPr>
        <p:spPr>
          <a:xfrm>
            <a:off x="-1895765" y="1564429"/>
            <a:ext cx="146597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2700911" y="1564429"/>
            <a:ext cx="1470787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5195426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7612992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94" t="10778" r="25169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824" b="1869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318" t="29394" r="10667" b="7722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728" t="19258" r="2728" b="17777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3696" t="2963" r="13696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318" t="29394" r="10667" b="7722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824" b="1869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30404" y="1564429"/>
            <a:ext cx="153118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HEADLINE 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198565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28982" y="1564429"/>
            <a:ext cx="143071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4672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25052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ADLINE 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TEXT HERE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728" t="19258" r="2728" b="17777"/>
          <a:stretch/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94" t="10778" r="2516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54736" y="1564429"/>
            <a:ext cx="147078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49251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9966817" y="1564429"/>
            <a:ext cx="153009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764795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96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1D9BEC62-D208-46A3-81CE-DD240BF66A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1D9BEC62-D208-46A3-81CE-DD240BF66A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792106B4-B648-4043-8E42-323E8267B6E7}"/>
              </a:ext>
            </a:extLst>
          </p:cNvPr>
          <p:cNvSpPr/>
          <p:nvPr/>
        </p:nvSpPr>
        <p:spPr>
          <a:xfrm>
            <a:off x="7301052" y="3109193"/>
            <a:ext cx="768012" cy="7680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3D05DE3-2757-4131-9038-22CC5423661C}"/>
              </a:ext>
            </a:extLst>
          </p:cNvPr>
          <p:cNvSpPr/>
          <p:nvPr/>
        </p:nvSpPr>
        <p:spPr>
          <a:xfrm>
            <a:off x="8161816" y="3109193"/>
            <a:ext cx="768012" cy="7680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F3180F0-0748-46AB-AE44-C30509E7F58C}"/>
              </a:ext>
            </a:extLst>
          </p:cNvPr>
          <p:cNvSpPr/>
          <p:nvPr/>
        </p:nvSpPr>
        <p:spPr>
          <a:xfrm>
            <a:off x="9022580" y="3109193"/>
            <a:ext cx="768012" cy="7680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C47D90-43D5-46B8-80E7-3F3C40C9FE60}"/>
              </a:ext>
            </a:extLst>
          </p:cNvPr>
          <p:cNvSpPr/>
          <p:nvPr/>
        </p:nvSpPr>
        <p:spPr>
          <a:xfrm>
            <a:off x="6440288" y="3109193"/>
            <a:ext cx="768012" cy="7680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1899C2-6BE1-4F04-AE7D-AA792A80A1E5}"/>
              </a:ext>
            </a:extLst>
          </p:cNvPr>
          <p:cNvSpPr/>
          <p:nvPr/>
        </p:nvSpPr>
        <p:spPr>
          <a:xfrm>
            <a:off x="9883345" y="3109193"/>
            <a:ext cx="768012" cy="7680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9756D5D-EC16-4645-9474-CDDFF7F5D65E}"/>
              </a:ext>
            </a:extLst>
          </p:cNvPr>
          <p:cNvSpPr/>
          <p:nvPr/>
        </p:nvSpPr>
        <p:spPr>
          <a:xfrm>
            <a:off x="7423673" y="3314460"/>
            <a:ext cx="644941" cy="562746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C62A6FA-8CD8-4C3B-AB0F-89C71EA79CCC}"/>
              </a:ext>
            </a:extLst>
          </p:cNvPr>
          <p:cNvSpPr/>
          <p:nvPr/>
        </p:nvSpPr>
        <p:spPr>
          <a:xfrm>
            <a:off x="8334425" y="3252564"/>
            <a:ext cx="541237" cy="590053"/>
          </a:xfrm>
          <a:custGeom>
            <a:avLst/>
            <a:gdLst>
              <a:gd name="connsiteX0" fmla="*/ 57150 w 777371"/>
              <a:gd name="connsiteY0" fmla="*/ 0 h 847485"/>
              <a:gd name="connsiteX1" fmla="*/ 101600 w 777371"/>
              <a:gd name="connsiteY1" fmla="*/ 0 h 847485"/>
              <a:gd name="connsiteX2" fmla="*/ 777371 w 777371"/>
              <a:gd name="connsiteY2" fmla="*/ 623788 h 847485"/>
              <a:gd name="connsiteX3" fmla="*/ 760975 w 777371"/>
              <a:gd name="connsiteY3" fmla="*/ 653994 h 847485"/>
              <a:gd name="connsiteX4" fmla="*/ 612000 w 777371"/>
              <a:gd name="connsiteY4" fmla="*/ 802969 h 847485"/>
              <a:gd name="connsiteX5" fmla="*/ 529985 w 777371"/>
              <a:gd name="connsiteY5" fmla="*/ 847485 h 847485"/>
              <a:gd name="connsiteX6" fmla="*/ 165100 w 777371"/>
              <a:gd name="connsiteY6" fmla="*/ 482600 h 847485"/>
              <a:gd name="connsiteX7" fmla="*/ 0 w 777371"/>
              <a:gd name="connsiteY7" fmla="*/ 50800 h 8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371" h="847485">
                <a:moveTo>
                  <a:pt x="57150" y="0"/>
                </a:moveTo>
                <a:lnTo>
                  <a:pt x="101600" y="0"/>
                </a:lnTo>
                <a:lnTo>
                  <a:pt x="777371" y="623788"/>
                </a:lnTo>
                <a:lnTo>
                  <a:pt x="760975" y="653994"/>
                </a:lnTo>
                <a:cubicBezTo>
                  <a:pt x="721329" y="712679"/>
                  <a:pt x="670685" y="763323"/>
                  <a:pt x="612000" y="802969"/>
                </a:cubicBezTo>
                <a:lnTo>
                  <a:pt x="529985" y="847485"/>
                </a:lnTo>
                <a:lnTo>
                  <a:pt x="165100" y="482600"/>
                </a:lnTo>
                <a:lnTo>
                  <a:pt x="0" y="50800"/>
                </a:lnTo>
                <a:close/>
              </a:path>
            </a:pathLst>
          </a:custGeom>
          <a:gradFill>
            <a:gsLst>
              <a:gs pos="4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FCE1B83-B1A4-4923-94C4-BCA7918E01C0}"/>
              </a:ext>
            </a:extLst>
          </p:cNvPr>
          <p:cNvSpPr/>
          <p:nvPr/>
        </p:nvSpPr>
        <p:spPr>
          <a:xfrm>
            <a:off x="9187703" y="3323302"/>
            <a:ext cx="602891" cy="553904"/>
          </a:xfrm>
          <a:custGeom>
            <a:avLst/>
            <a:gdLst>
              <a:gd name="connsiteX0" fmla="*/ 228600 w 865923"/>
              <a:gd name="connsiteY0" fmla="*/ 0 h 795564"/>
              <a:gd name="connsiteX1" fmla="*/ 660400 w 865923"/>
              <a:gd name="connsiteY1" fmla="*/ 69850 h 795564"/>
              <a:gd name="connsiteX2" fmla="*/ 863739 w 865923"/>
              <a:gd name="connsiteY2" fmla="*/ 222354 h 795564"/>
              <a:gd name="connsiteX3" fmla="*/ 865923 w 865923"/>
              <a:gd name="connsiteY3" fmla="*/ 244021 h 795564"/>
              <a:gd name="connsiteX4" fmla="*/ 314380 w 865923"/>
              <a:gd name="connsiteY4" fmla="*/ 795564 h 795564"/>
              <a:gd name="connsiteX5" fmla="*/ 312805 w 865923"/>
              <a:gd name="connsiteY5" fmla="*/ 795405 h 795564"/>
              <a:gd name="connsiteX6" fmla="*/ 31750 w 865923"/>
              <a:gd name="connsiteY6" fmla="*/ 514350 h 795564"/>
              <a:gd name="connsiteX7" fmla="*/ 127000 w 865923"/>
              <a:gd name="connsiteY7" fmla="*/ 292100 h 795564"/>
              <a:gd name="connsiteX8" fmla="*/ 12700 w 865923"/>
              <a:gd name="connsiteY8" fmla="*/ 177800 h 795564"/>
              <a:gd name="connsiteX9" fmla="*/ 0 w 865923"/>
              <a:gd name="connsiteY9" fmla="*/ 107950 h 795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5923" h="795564">
                <a:moveTo>
                  <a:pt x="228600" y="0"/>
                </a:moveTo>
                <a:lnTo>
                  <a:pt x="660400" y="69850"/>
                </a:lnTo>
                <a:lnTo>
                  <a:pt x="863739" y="222354"/>
                </a:lnTo>
                <a:lnTo>
                  <a:pt x="865923" y="244021"/>
                </a:lnTo>
                <a:cubicBezTo>
                  <a:pt x="865923" y="548630"/>
                  <a:pt x="618989" y="795564"/>
                  <a:pt x="314380" y="795564"/>
                </a:cubicBezTo>
                <a:lnTo>
                  <a:pt x="312805" y="795405"/>
                </a:lnTo>
                <a:lnTo>
                  <a:pt x="31750" y="514350"/>
                </a:lnTo>
                <a:lnTo>
                  <a:pt x="127000" y="292100"/>
                </a:lnTo>
                <a:lnTo>
                  <a:pt x="12700" y="177800"/>
                </a:lnTo>
                <a:lnTo>
                  <a:pt x="0" y="107950"/>
                </a:lnTo>
                <a:close/>
              </a:path>
            </a:pathLst>
          </a:custGeom>
          <a:gradFill>
            <a:gsLst>
              <a:gs pos="4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E427500-F951-4851-8260-B149BE0DB030}"/>
              </a:ext>
            </a:extLst>
          </p:cNvPr>
          <p:cNvSpPr/>
          <p:nvPr/>
        </p:nvSpPr>
        <p:spPr>
          <a:xfrm>
            <a:off x="6588080" y="3371935"/>
            <a:ext cx="618255" cy="505271"/>
          </a:xfrm>
          <a:custGeom>
            <a:avLst/>
            <a:gdLst>
              <a:gd name="connsiteX0" fmla="*/ 685800 w 887990"/>
              <a:gd name="connsiteY0" fmla="*/ 0 h 725714"/>
              <a:gd name="connsiteX1" fmla="*/ 887990 w 887990"/>
              <a:gd name="connsiteY1" fmla="*/ 202190 h 725714"/>
              <a:gd name="connsiteX2" fmla="*/ 879609 w 887990"/>
              <a:gd name="connsiteY2" fmla="*/ 285326 h 725714"/>
              <a:gd name="connsiteX3" fmla="*/ 339271 w 887990"/>
              <a:gd name="connsiteY3" fmla="*/ 725714 h 725714"/>
              <a:gd name="connsiteX4" fmla="*/ 310015 w 887990"/>
              <a:gd name="connsiteY4" fmla="*/ 722765 h 725714"/>
              <a:gd name="connsiteX5" fmla="*/ 0 w 887990"/>
              <a:gd name="connsiteY5" fmla="*/ 412750 h 725714"/>
              <a:gd name="connsiteX6" fmla="*/ 38100 w 887990"/>
              <a:gd name="connsiteY6" fmla="*/ 25400 h 725714"/>
              <a:gd name="connsiteX7" fmla="*/ 463550 w 887990"/>
              <a:gd name="connsiteY7" fmla="*/ 3810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7990" h="725714">
                <a:moveTo>
                  <a:pt x="685800" y="0"/>
                </a:moveTo>
                <a:lnTo>
                  <a:pt x="887990" y="202190"/>
                </a:lnTo>
                <a:lnTo>
                  <a:pt x="879609" y="285326"/>
                </a:lnTo>
                <a:cubicBezTo>
                  <a:pt x="828179" y="536655"/>
                  <a:pt x="605804" y="725714"/>
                  <a:pt x="339271" y="725714"/>
                </a:cubicBezTo>
                <a:lnTo>
                  <a:pt x="310015" y="722765"/>
                </a:lnTo>
                <a:lnTo>
                  <a:pt x="0" y="412750"/>
                </a:lnTo>
                <a:lnTo>
                  <a:pt x="38100" y="25400"/>
                </a:lnTo>
                <a:lnTo>
                  <a:pt x="463550" y="38100"/>
                </a:lnTo>
                <a:close/>
              </a:path>
            </a:pathLst>
          </a:custGeom>
          <a:gradFill>
            <a:gsLst>
              <a:gs pos="4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83E2499-1B58-492E-9D81-882276FF3832}"/>
              </a:ext>
            </a:extLst>
          </p:cNvPr>
          <p:cNvSpPr/>
          <p:nvPr/>
        </p:nvSpPr>
        <p:spPr>
          <a:xfrm>
            <a:off x="10036559" y="3242838"/>
            <a:ext cx="609118" cy="629962"/>
          </a:xfrm>
          <a:custGeom>
            <a:avLst/>
            <a:gdLst>
              <a:gd name="connsiteX0" fmla="*/ 350520 w 874867"/>
              <a:gd name="connsiteY0" fmla="*/ 0 h 904805"/>
              <a:gd name="connsiteX1" fmla="*/ 594360 w 874867"/>
              <a:gd name="connsiteY1" fmla="*/ 160020 h 904805"/>
              <a:gd name="connsiteX2" fmla="*/ 874867 w 874867"/>
              <a:gd name="connsiteY2" fmla="*/ 440527 h 904805"/>
              <a:gd name="connsiteX3" fmla="*/ 871821 w 874867"/>
              <a:gd name="connsiteY3" fmla="*/ 470746 h 904805"/>
              <a:gd name="connsiteX4" fmla="*/ 442638 w 874867"/>
              <a:gd name="connsiteY4" fmla="*/ 899929 h 904805"/>
              <a:gd name="connsiteX5" fmla="*/ 394265 w 874867"/>
              <a:gd name="connsiteY5" fmla="*/ 904805 h 904805"/>
              <a:gd name="connsiteX6" fmla="*/ 30480 w 874867"/>
              <a:gd name="connsiteY6" fmla="*/ 541020 h 904805"/>
              <a:gd name="connsiteX7" fmla="*/ 0 w 874867"/>
              <a:gd name="connsiteY7" fmla="*/ 281940 h 904805"/>
              <a:gd name="connsiteX8" fmla="*/ 106680 w 874867"/>
              <a:gd name="connsiteY8" fmla="*/ 68580 h 90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74867" h="904805">
                <a:moveTo>
                  <a:pt x="350520" y="0"/>
                </a:moveTo>
                <a:lnTo>
                  <a:pt x="594360" y="160020"/>
                </a:lnTo>
                <a:lnTo>
                  <a:pt x="874867" y="440527"/>
                </a:lnTo>
                <a:lnTo>
                  <a:pt x="871821" y="470746"/>
                </a:lnTo>
                <a:cubicBezTo>
                  <a:pt x="827739" y="686171"/>
                  <a:pt x="658063" y="855846"/>
                  <a:pt x="442638" y="899929"/>
                </a:cubicBezTo>
                <a:lnTo>
                  <a:pt x="394265" y="904805"/>
                </a:lnTo>
                <a:lnTo>
                  <a:pt x="30480" y="541020"/>
                </a:lnTo>
                <a:lnTo>
                  <a:pt x="0" y="281940"/>
                </a:lnTo>
                <a:lnTo>
                  <a:pt x="106680" y="68580"/>
                </a:lnTo>
                <a:close/>
              </a:path>
            </a:pathLst>
          </a:custGeom>
          <a:gradFill>
            <a:gsLst>
              <a:gs pos="4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6" name="Graphic 5" descr="Game controller">
            <a:extLst>
              <a:ext uri="{FF2B5EF4-FFF2-40B4-BE49-F238E27FC236}">
                <a16:creationId xmlns:a16="http://schemas.microsoft.com/office/drawing/2014/main" id="{F3E278CE-82EC-48D3-A922-E0419DC6A2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6737" y="3174878"/>
            <a:ext cx="636642" cy="636642"/>
          </a:xfrm>
          <a:prstGeom prst="rect">
            <a:avLst/>
          </a:prstGeom>
        </p:spPr>
      </p:pic>
      <p:pic>
        <p:nvPicPr>
          <p:cNvPr id="8" name="Graphic 7" descr="Telephone">
            <a:extLst>
              <a:ext uri="{FF2B5EF4-FFF2-40B4-BE49-F238E27FC236}">
                <a16:creationId xmlns:a16="http://schemas.microsoft.com/office/drawing/2014/main" id="{DF33160E-9391-491A-9791-F60543C957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88265" y="3179115"/>
            <a:ext cx="636642" cy="636642"/>
          </a:xfrm>
          <a:prstGeom prst="rect">
            <a:avLst/>
          </a:prstGeom>
        </p:spPr>
      </p:pic>
      <p:pic>
        <p:nvPicPr>
          <p:cNvPr id="10" name="Graphic 9" descr="Receiver">
            <a:extLst>
              <a:ext uri="{FF2B5EF4-FFF2-40B4-BE49-F238E27FC236}">
                <a16:creationId xmlns:a16="http://schemas.microsoft.com/office/drawing/2014/main" id="{AC6BD48F-A2AE-4FA5-9738-C37E105B683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63881" y="3190891"/>
            <a:ext cx="562300" cy="562300"/>
          </a:xfrm>
          <a:prstGeom prst="rect">
            <a:avLst/>
          </a:prstGeom>
        </p:spPr>
      </p:pic>
      <p:pic>
        <p:nvPicPr>
          <p:cNvPr id="12" name="Graphic 11" descr="Open Folder">
            <a:extLst>
              <a:ext uri="{FF2B5EF4-FFF2-40B4-BE49-F238E27FC236}">
                <a16:creationId xmlns:a16="http://schemas.microsoft.com/office/drawing/2014/main" id="{A8BB45BD-C8CC-4EC1-8009-F791F48E88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33040" y="3182049"/>
            <a:ext cx="636642" cy="636642"/>
          </a:xfrm>
          <a:prstGeom prst="rect">
            <a:avLst/>
          </a:prstGeom>
        </p:spPr>
      </p:pic>
      <p:pic>
        <p:nvPicPr>
          <p:cNvPr id="4" name="Graphic 3" descr="Record">
            <a:extLst>
              <a:ext uri="{FF2B5EF4-FFF2-40B4-BE49-F238E27FC236}">
                <a16:creationId xmlns:a16="http://schemas.microsoft.com/office/drawing/2014/main" id="{D3DAA549-4BE7-4A11-9E13-1F73ECA0F0D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49029" y="3174878"/>
            <a:ext cx="636642" cy="636642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48D81CEE-B1BB-4905-80CB-8D5B796AFC0E}"/>
              </a:ext>
            </a:extLst>
          </p:cNvPr>
          <p:cNvSpPr/>
          <p:nvPr/>
        </p:nvSpPr>
        <p:spPr>
          <a:xfrm>
            <a:off x="7301052" y="4012382"/>
            <a:ext cx="768012" cy="768012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E7EBA3A-ABA9-4461-8853-2833587D47B8}"/>
              </a:ext>
            </a:extLst>
          </p:cNvPr>
          <p:cNvSpPr/>
          <p:nvPr/>
        </p:nvSpPr>
        <p:spPr>
          <a:xfrm>
            <a:off x="8161816" y="4012382"/>
            <a:ext cx="768012" cy="768012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5F4C785-35A7-476E-B714-D43DD2E517E1}"/>
              </a:ext>
            </a:extLst>
          </p:cNvPr>
          <p:cNvSpPr/>
          <p:nvPr/>
        </p:nvSpPr>
        <p:spPr>
          <a:xfrm>
            <a:off x="6440288" y="4012382"/>
            <a:ext cx="768012" cy="768012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DBE51A3-A066-4FDE-A5EB-D04792E29915}"/>
              </a:ext>
            </a:extLst>
          </p:cNvPr>
          <p:cNvSpPr/>
          <p:nvPr/>
        </p:nvSpPr>
        <p:spPr>
          <a:xfrm>
            <a:off x="9883345" y="4012382"/>
            <a:ext cx="768012" cy="768012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2A9CB4B2-CF70-46B8-8ACB-A688799C5D74}"/>
              </a:ext>
            </a:extLst>
          </p:cNvPr>
          <p:cNvSpPr/>
          <p:nvPr/>
        </p:nvSpPr>
        <p:spPr>
          <a:xfrm>
            <a:off x="7423673" y="4217649"/>
            <a:ext cx="644941" cy="562746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chemeClr val="accent5"/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54384C5-CD36-4B21-A942-6C9A4DA81954}"/>
              </a:ext>
            </a:extLst>
          </p:cNvPr>
          <p:cNvSpPr/>
          <p:nvPr/>
        </p:nvSpPr>
        <p:spPr>
          <a:xfrm>
            <a:off x="8334425" y="4155753"/>
            <a:ext cx="541237" cy="590053"/>
          </a:xfrm>
          <a:custGeom>
            <a:avLst/>
            <a:gdLst>
              <a:gd name="connsiteX0" fmla="*/ 57150 w 777371"/>
              <a:gd name="connsiteY0" fmla="*/ 0 h 847485"/>
              <a:gd name="connsiteX1" fmla="*/ 101600 w 777371"/>
              <a:gd name="connsiteY1" fmla="*/ 0 h 847485"/>
              <a:gd name="connsiteX2" fmla="*/ 777371 w 777371"/>
              <a:gd name="connsiteY2" fmla="*/ 623788 h 847485"/>
              <a:gd name="connsiteX3" fmla="*/ 760975 w 777371"/>
              <a:gd name="connsiteY3" fmla="*/ 653994 h 847485"/>
              <a:gd name="connsiteX4" fmla="*/ 612000 w 777371"/>
              <a:gd name="connsiteY4" fmla="*/ 802969 h 847485"/>
              <a:gd name="connsiteX5" fmla="*/ 529985 w 777371"/>
              <a:gd name="connsiteY5" fmla="*/ 847485 h 847485"/>
              <a:gd name="connsiteX6" fmla="*/ 165100 w 777371"/>
              <a:gd name="connsiteY6" fmla="*/ 482600 h 847485"/>
              <a:gd name="connsiteX7" fmla="*/ 0 w 777371"/>
              <a:gd name="connsiteY7" fmla="*/ 50800 h 8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371" h="847485">
                <a:moveTo>
                  <a:pt x="57150" y="0"/>
                </a:moveTo>
                <a:lnTo>
                  <a:pt x="101600" y="0"/>
                </a:lnTo>
                <a:lnTo>
                  <a:pt x="777371" y="623788"/>
                </a:lnTo>
                <a:lnTo>
                  <a:pt x="760975" y="653994"/>
                </a:lnTo>
                <a:cubicBezTo>
                  <a:pt x="721329" y="712679"/>
                  <a:pt x="670685" y="763323"/>
                  <a:pt x="612000" y="802969"/>
                </a:cubicBezTo>
                <a:lnTo>
                  <a:pt x="529985" y="847485"/>
                </a:lnTo>
                <a:lnTo>
                  <a:pt x="165100" y="482600"/>
                </a:lnTo>
                <a:lnTo>
                  <a:pt x="0" y="50800"/>
                </a:lnTo>
                <a:close/>
              </a:path>
            </a:pathLst>
          </a:custGeom>
          <a:gradFill>
            <a:gsLst>
              <a:gs pos="40000">
                <a:schemeClr val="accent5"/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7A6BCE9-D9B9-408B-8522-60726B535A6E}"/>
              </a:ext>
            </a:extLst>
          </p:cNvPr>
          <p:cNvSpPr/>
          <p:nvPr/>
        </p:nvSpPr>
        <p:spPr>
          <a:xfrm>
            <a:off x="6588080" y="4275123"/>
            <a:ext cx="618255" cy="505271"/>
          </a:xfrm>
          <a:custGeom>
            <a:avLst/>
            <a:gdLst>
              <a:gd name="connsiteX0" fmla="*/ 685800 w 887990"/>
              <a:gd name="connsiteY0" fmla="*/ 0 h 725714"/>
              <a:gd name="connsiteX1" fmla="*/ 887990 w 887990"/>
              <a:gd name="connsiteY1" fmla="*/ 202190 h 725714"/>
              <a:gd name="connsiteX2" fmla="*/ 879609 w 887990"/>
              <a:gd name="connsiteY2" fmla="*/ 285326 h 725714"/>
              <a:gd name="connsiteX3" fmla="*/ 339271 w 887990"/>
              <a:gd name="connsiteY3" fmla="*/ 725714 h 725714"/>
              <a:gd name="connsiteX4" fmla="*/ 310015 w 887990"/>
              <a:gd name="connsiteY4" fmla="*/ 722765 h 725714"/>
              <a:gd name="connsiteX5" fmla="*/ 0 w 887990"/>
              <a:gd name="connsiteY5" fmla="*/ 412750 h 725714"/>
              <a:gd name="connsiteX6" fmla="*/ 38100 w 887990"/>
              <a:gd name="connsiteY6" fmla="*/ 25400 h 725714"/>
              <a:gd name="connsiteX7" fmla="*/ 463550 w 887990"/>
              <a:gd name="connsiteY7" fmla="*/ 3810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7990" h="725714">
                <a:moveTo>
                  <a:pt x="685800" y="0"/>
                </a:moveTo>
                <a:lnTo>
                  <a:pt x="887990" y="202190"/>
                </a:lnTo>
                <a:lnTo>
                  <a:pt x="879609" y="285326"/>
                </a:lnTo>
                <a:cubicBezTo>
                  <a:pt x="828179" y="536655"/>
                  <a:pt x="605804" y="725714"/>
                  <a:pt x="339271" y="725714"/>
                </a:cubicBezTo>
                <a:lnTo>
                  <a:pt x="310015" y="722765"/>
                </a:lnTo>
                <a:lnTo>
                  <a:pt x="0" y="412750"/>
                </a:lnTo>
                <a:lnTo>
                  <a:pt x="38100" y="25400"/>
                </a:lnTo>
                <a:lnTo>
                  <a:pt x="463550" y="38100"/>
                </a:lnTo>
                <a:close/>
              </a:path>
            </a:pathLst>
          </a:custGeom>
          <a:gradFill>
            <a:gsLst>
              <a:gs pos="40000">
                <a:schemeClr val="accent5"/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5091BBD-8F0F-4F94-B0D4-D1EF36D74FC9}"/>
              </a:ext>
            </a:extLst>
          </p:cNvPr>
          <p:cNvSpPr/>
          <p:nvPr/>
        </p:nvSpPr>
        <p:spPr>
          <a:xfrm>
            <a:off x="10036559" y="4146026"/>
            <a:ext cx="609118" cy="629962"/>
          </a:xfrm>
          <a:custGeom>
            <a:avLst/>
            <a:gdLst>
              <a:gd name="connsiteX0" fmla="*/ 350520 w 874867"/>
              <a:gd name="connsiteY0" fmla="*/ 0 h 904805"/>
              <a:gd name="connsiteX1" fmla="*/ 594360 w 874867"/>
              <a:gd name="connsiteY1" fmla="*/ 160020 h 904805"/>
              <a:gd name="connsiteX2" fmla="*/ 874867 w 874867"/>
              <a:gd name="connsiteY2" fmla="*/ 440527 h 904805"/>
              <a:gd name="connsiteX3" fmla="*/ 871821 w 874867"/>
              <a:gd name="connsiteY3" fmla="*/ 470746 h 904805"/>
              <a:gd name="connsiteX4" fmla="*/ 442638 w 874867"/>
              <a:gd name="connsiteY4" fmla="*/ 899929 h 904805"/>
              <a:gd name="connsiteX5" fmla="*/ 394265 w 874867"/>
              <a:gd name="connsiteY5" fmla="*/ 904805 h 904805"/>
              <a:gd name="connsiteX6" fmla="*/ 30480 w 874867"/>
              <a:gd name="connsiteY6" fmla="*/ 541020 h 904805"/>
              <a:gd name="connsiteX7" fmla="*/ 0 w 874867"/>
              <a:gd name="connsiteY7" fmla="*/ 281940 h 904805"/>
              <a:gd name="connsiteX8" fmla="*/ 106680 w 874867"/>
              <a:gd name="connsiteY8" fmla="*/ 68580 h 90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74867" h="904805">
                <a:moveTo>
                  <a:pt x="350520" y="0"/>
                </a:moveTo>
                <a:lnTo>
                  <a:pt x="594360" y="160020"/>
                </a:lnTo>
                <a:lnTo>
                  <a:pt x="874867" y="440527"/>
                </a:lnTo>
                <a:lnTo>
                  <a:pt x="871821" y="470746"/>
                </a:lnTo>
                <a:cubicBezTo>
                  <a:pt x="827739" y="686171"/>
                  <a:pt x="658063" y="855846"/>
                  <a:pt x="442638" y="899929"/>
                </a:cubicBezTo>
                <a:lnTo>
                  <a:pt x="394265" y="904805"/>
                </a:lnTo>
                <a:lnTo>
                  <a:pt x="30480" y="541020"/>
                </a:lnTo>
                <a:lnTo>
                  <a:pt x="0" y="281940"/>
                </a:lnTo>
                <a:lnTo>
                  <a:pt x="106680" y="68580"/>
                </a:lnTo>
                <a:close/>
              </a:path>
            </a:pathLst>
          </a:custGeom>
          <a:gradFill>
            <a:gsLst>
              <a:gs pos="40000">
                <a:schemeClr val="accent5"/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47" name="Graphic 46" descr="Game controller">
            <a:extLst>
              <a:ext uri="{FF2B5EF4-FFF2-40B4-BE49-F238E27FC236}">
                <a16:creationId xmlns:a16="http://schemas.microsoft.com/office/drawing/2014/main" id="{49709B20-4F19-4754-941A-BD69B96AA5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6737" y="4078066"/>
            <a:ext cx="636642" cy="63664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FAE3650-E374-495B-B7AB-EF0E297EEA6C}"/>
              </a:ext>
            </a:extLst>
          </p:cNvPr>
          <p:cNvGrpSpPr/>
          <p:nvPr/>
        </p:nvGrpSpPr>
        <p:grpSpPr>
          <a:xfrm>
            <a:off x="9022580" y="4012382"/>
            <a:ext cx="768013" cy="768013"/>
            <a:chOff x="4449137" y="2695825"/>
            <a:chExt cx="1103086" cy="1103086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CC56CF6-47E5-423B-B5C4-C548B45E577B}"/>
                </a:ext>
              </a:extLst>
            </p:cNvPr>
            <p:cNvSpPr/>
            <p:nvPr/>
          </p:nvSpPr>
          <p:spPr>
            <a:xfrm>
              <a:off x="4449137" y="2695825"/>
              <a:ext cx="1103085" cy="1103085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43C1529-9B44-4D50-A40E-1D8416BB5F5B}"/>
                </a:ext>
              </a:extLst>
            </p:cNvPr>
            <p:cNvSpPr/>
            <p:nvPr/>
          </p:nvSpPr>
          <p:spPr>
            <a:xfrm>
              <a:off x="4686300" y="3003347"/>
              <a:ext cx="865923" cy="795564"/>
            </a:xfrm>
            <a:custGeom>
              <a:avLst/>
              <a:gdLst>
                <a:gd name="connsiteX0" fmla="*/ 228600 w 865923"/>
                <a:gd name="connsiteY0" fmla="*/ 0 h 795564"/>
                <a:gd name="connsiteX1" fmla="*/ 660400 w 865923"/>
                <a:gd name="connsiteY1" fmla="*/ 69850 h 795564"/>
                <a:gd name="connsiteX2" fmla="*/ 863739 w 865923"/>
                <a:gd name="connsiteY2" fmla="*/ 222354 h 795564"/>
                <a:gd name="connsiteX3" fmla="*/ 865923 w 865923"/>
                <a:gd name="connsiteY3" fmla="*/ 244021 h 795564"/>
                <a:gd name="connsiteX4" fmla="*/ 314380 w 865923"/>
                <a:gd name="connsiteY4" fmla="*/ 795564 h 795564"/>
                <a:gd name="connsiteX5" fmla="*/ 312805 w 865923"/>
                <a:gd name="connsiteY5" fmla="*/ 795405 h 795564"/>
                <a:gd name="connsiteX6" fmla="*/ 31750 w 865923"/>
                <a:gd name="connsiteY6" fmla="*/ 514350 h 795564"/>
                <a:gd name="connsiteX7" fmla="*/ 127000 w 865923"/>
                <a:gd name="connsiteY7" fmla="*/ 292100 h 795564"/>
                <a:gd name="connsiteX8" fmla="*/ 12700 w 865923"/>
                <a:gd name="connsiteY8" fmla="*/ 177800 h 795564"/>
                <a:gd name="connsiteX9" fmla="*/ 0 w 865923"/>
                <a:gd name="connsiteY9" fmla="*/ 107950 h 79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5923" h="795564">
                  <a:moveTo>
                    <a:pt x="228600" y="0"/>
                  </a:moveTo>
                  <a:lnTo>
                    <a:pt x="660400" y="69850"/>
                  </a:lnTo>
                  <a:lnTo>
                    <a:pt x="863739" y="222354"/>
                  </a:lnTo>
                  <a:lnTo>
                    <a:pt x="865923" y="244021"/>
                  </a:lnTo>
                  <a:cubicBezTo>
                    <a:pt x="865923" y="548630"/>
                    <a:pt x="618989" y="795564"/>
                    <a:pt x="314380" y="795564"/>
                  </a:cubicBezTo>
                  <a:lnTo>
                    <a:pt x="312805" y="795405"/>
                  </a:lnTo>
                  <a:lnTo>
                    <a:pt x="31750" y="514350"/>
                  </a:lnTo>
                  <a:lnTo>
                    <a:pt x="127000" y="292100"/>
                  </a:lnTo>
                  <a:lnTo>
                    <a:pt x="12700" y="177800"/>
                  </a:lnTo>
                  <a:lnTo>
                    <a:pt x="0" y="107950"/>
                  </a:lnTo>
                  <a:close/>
                </a:path>
              </a:pathLst>
            </a:custGeom>
            <a:gradFill>
              <a:gsLst>
                <a:gs pos="40000">
                  <a:schemeClr val="accent5"/>
                </a:gs>
                <a:gs pos="100000">
                  <a:schemeClr val="accent5">
                    <a:lumMod val="40000"/>
                    <a:lumOff val="6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48" name="Graphic 47" descr="Telephone">
              <a:extLst>
                <a:ext uri="{FF2B5EF4-FFF2-40B4-BE49-F238E27FC236}">
                  <a16:creationId xmlns:a16="http://schemas.microsoft.com/office/drawing/2014/main" id="{827B50FD-BF01-4CA6-88DB-602EF28C9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43479" y="2796253"/>
              <a:ext cx="914400" cy="914400"/>
            </a:xfrm>
            <a:prstGeom prst="rect">
              <a:avLst/>
            </a:prstGeom>
          </p:spPr>
        </p:pic>
      </p:grpSp>
      <p:pic>
        <p:nvPicPr>
          <p:cNvPr id="49" name="Graphic 48" descr="Receiver">
            <a:extLst>
              <a:ext uri="{FF2B5EF4-FFF2-40B4-BE49-F238E27FC236}">
                <a16:creationId xmlns:a16="http://schemas.microsoft.com/office/drawing/2014/main" id="{9D058F55-8FCE-4D8E-AF38-052B2FB81A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63881" y="4094080"/>
            <a:ext cx="562300" cy="562300"/>
          </a:xfrm>
          <a:prstGeom prst="rect">
            <a:avLst/>
          </a:prstGeom>
        </p:spPr>
      </p:pic>
      <p:pic>
        <p:nvPicPr>
          <p:cNvPr id="50" name="Graphic 49" descr="Open Folder">
            <a:extLst>
              <a:ext uri="{FF2B5EF4-FFF2-40B4-BE49-F238E27FC236}">
                <a16:creationId xmlns:a16="http://schemas.microsoft.com/office/drawing/2014/main" id="{53160A17-B33A-48F7-B931-2FB752D37B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33040" y="4085238"/>
            <a:ext cx="636642" cy="636642"/>
          </a:xfrm>
          <a:prstGeom prst="rect">
            <a:avLst/>
          </a:prstGeom>
        </p:spPr>
      </p:pic>
      <p:pic>
        <p:nvPicPr>
          <p:cNvPr id="51" name="Graphic 50" descr="Record">
            <a:extLst>
              <a:ext uri="{FF2B5EF4-FFF2-40B4-BE49-F238E27FC236}">
                <a16:creationId xmlns:a16="http://schemas.microsoft.com/office/drawing/2014/main" id="{170942B8-443A-481F-B0F9-07BF41C3A0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49029" y="4078066"/>
            <a:ext cx="636642" cy="636642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3B95E97F-3E91-4F78-BD70-A97E65957942}"/>
              </a:ext>
            </a:extLst>
          </p:cNvPr>
          <p:cNvSpPr/>
          <p:nvPr/>
        </p:nvSpPr>
        <p:spPr>
          <a:xfrm>
            <a:off x="8161816" y="4889993"/>
            <a:ext cx="768012" cy="7680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91638CB-8471-40A5-A5E6-324B23E6EBA9}"/>
              </a:ext>
            </a:extLst>
          </p:cNvPr>
          <p:cNvSpPr/>
          <p:nvPr/>
        </p:nvSpPr>
        <p:spPr>
          <a:xfrm>
            <a:off x="9022580" y="4889993"/>
            <a:ext cx="768012" cy="7680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2609565-9627-47FA-8F94-2C6E947704C2}"/>
              </a:ext>
            </a:extLst>
          </p:cNvPr>
          <p:cNvSpPr/>
          <p:nvPr/>
        </p:nvSpPr>
        <p:spPr>
          <a:xfrm>
            <a:off x="6440288" y="4889993"/>
            <a:ext cx="768012" cy="7680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D1F8301-86CA-4BAB-901F-29DDF8735C10}"/>
              </a:ext>
            </a:extLst>
          </p:cNvPr>
          <p:cNvSpPr/>
          <p:nvPr/>
        </p:nvSpPr>
        <p:spPr>
          <a:xfrm>
            <a:off x="9883345" y="4889993"/>
            <a:ext cx="768012" cy="7680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0A4423E1-B44C-4C9A-B1A9-6A57F53FB205}"/>
              </a:ext>
            </a:extLst>
          </p:cNvPr>
          <p:cNvSpPr/>
          <p:nvPr/>
        </p:nvSpPr>
        <p:spPr>
          <a:xfrm>
            <a:off x="8334425" y="5033364"/>
            <a:ext cx="541237" cy="590053"/>
          </a:xfrm>
          <a:custGeom>
            <a:avLst/>
            <a:gdLst>
              <a:gd name="connsiteX0" fmla="*/ 57150 w 777371"/>
              <a:gd name="connsiteY0" fmla="*/ 0 h 847485"/>
              <a:gd name="connsiteX1" fmla="*/ 101600 w 777371"/>
              <a:gd name="connsiteY1" fmla="*/ 0 h 847485"/>
              <a:gd name="connsiteX2" fmla="*/ 777371 w 777371"/>
              <a:gd name="connsiteY2" fmla="*/ 623788 h 847485"/>
              <a:gd name="connsiteX3" fmla="*/ 760975 w 777371"/>
              <a:gd name="connsiteY3" fmla="*/ 653994 h 847485"/>
              <a:gd name="connsiteX4" fmla="*/ 612000 w 777371"/>
              <a:gd name="connsiteY4" fmla="*/ 802969 h 847485"/>
              <a:gd name="connsiteX5" fmla="*/ 529985 w 777371"/>
              <a:gd name="connsiteY5" fmla="*/ 847485 h 847485"/>
              <a:gd name="connsiteX6" fmla="*/ 165100 w 777371"/>
              <a:gd name="connsiteY6" fmla="*/ 482600 h 847485"/>
              <a:gd name="connsiteX7" fmla="*/ 0 w 777371"/>
              <a:gd name="connsiteY7" fmla="*/ 50800 h 8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371" h="847485">
                <a:moveTo>
                  <a:pt x="57150" y="0"/>
                </a:moveTo>
                <a:lnTo>
                  <a:pt x="101600" y="0"/>
                </a:lnTo>
                <a:lnTo>
                  <a:pt x="777371" y="623788"/>
                </a:lnTo>
                <a:lnTo>
                  <a:pt x="760975" y="653994"/>
                </a:lnTo>
                <a:cubicBezTo>
                  <a:pt x="721329" y="712679"/>
                  <a:pt x="670685" y="763323"/>
                  <a:pt x="612000" y="802969"/>
                </a:cubicBezTo>
                <a:lnTo>
                  <a:pt x="529985" y="847485"/>
                </a:lnTo>
                <a:lnTo>
                  <a:pt x="165100" y="482600"/>
                </a:lnTo>
                <a:lnTo>
                  <a:pt x="0" y="50800"/>
                </a:ln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78A72E2A-9A9B-44E5-982B-EDE709200CB3}"/>
              </a:ext>
            </a:extLst>
          </p:cNvPr>
          <p:cNvSpPr/>
          <p:nvPr/>
        </p:nvSpPr>
        <p:spPr>
          <a:xfrm>
            <a:off x="9187703" y="5104102"/>
            <a:ext cx="602891" cy="553904"/>
          </a:xfrm>
          <a:custGeom>
            <a:avLst/>
            <a:gdLst>
              <a:gd name="connsiteX0" fmla="*/ 228600 w 865923"/>
              <a:gd name="connsiteY0" fmla="*/ 0 h 795564"/>
              <a:gd name="connsiteX1" fmla="*/ 660400 w 865923"/>
              <a:gd name="connsiteY1" fmla="*/ 69850 h 795564"/>
              <a:gd name="connsiteX2" fmla="*/ 863739 w 865923"/>
              <a:gd name="connsiteY2" fmla="*/ 222354 h 795564"/>
              <a:gd name="connsiteX3" fmla="*/ 865923 w 865923"/>
              <a:gd name="connsiteY3" fmla="*/ 244021 h 795564"/>
              <a:gd name="connsiteX4" fmla="*/ 314380 w 865923"/>
              <a:gd name="connsiteY4" fmla="*/ 795564 h 795564"/>
              <a:gd name="connsiteX5" fmla="*/ 312805 w 865923"/>
              <a:gd name="connsiteY5" fmla="*/ 795405 h 795564"/>
              <a:gd name="connsiteX6" fmla="*/ 31750 w 865923"/>
              <a:gd name="connsiteY6" fmla="*/ 514350 h 795564"/>
              <a:gd name="connsiteX7" fmla="*/ 127000 w 865923"/>
              <a:gd name="connsiteY7" fmla="*/ 292100 h 795564"/>
              <a:gd name="connsiteX8" fmla="*/ 12700 w 865923"/>
              <a:gd name="connsiteY8" fmla="*/ 177800 h 795564"/>
              <a:gd name="connsiteX9" fmla="*/ 0 w 865923"/>
              <a:gd name="connsiteY9" fmla="*/ 107950 h 795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5923" h="795564">
                <a:moveTo>
                  <a:pt x="228600" y="0"/>
                </a:moveTo>
                <a:lnTo>
                  <a:pt x="660400" y="69850"/>
                </a:lnTo>
                <a:lnTo>
                  <a:pt x="863739" y="222354"/>
                </a:lnTo>
                <a:lnTo>
                  <a:pt x="865923" y="244021"/>
                </a:lnTo>
                <a:cubicBezTo>
                  <a:pt x="865923" y="548630"/>
                  <a:pt x="618989" y="795564"/>
                  <a:pt x="314380" y="795564"/>
                </a:cubicBezTo>
                <a:lnTo>
                  <a:pt x="312805" y="795405"/>
                </a:lnTo>
                <a:lnTo>
                  <a:pt x="31750" y="514350"/>
                </a:lnTo>
                <a:lnTo>
                  <a:pt x="127000" y="292100"/>
                </a:lnTo>
                <a:lnTo>
                  <a:pt x="12700" y="177800"/>
                </a:lnTo>
                <a:lnTo>
                  <a:pt x="0" y="107950"/>
                </a:ln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7A2375F0-51BB-4A67-B517-CE85DC725C9A}"/>
              </a:ext>
            </a:extLst>
          </p:cNvPr>
          <p:cNvSpPr/>
          <p:nvPr/>
        </p:nvSpPr>
        <p:spPr>
          <a:xfrm>
            <a:off x="6588080" y="5152735"/>
            <a:ext cx="618255" cy="505271"/>
          </a:xfrm>
          <a:custGeom>
            <a:avLst/>
            <a:gdLst>
              <a:gd name="connsiteX0" fmla="*/ 685800 w 887990"/>
              <a:gd name="connsiteY0" fmla="*/ 0 h 725714"/>
              <a:gd name="connsiteX1" fmla="*/ 887990 w 887990"/>
              <a:gd name="connsiteY1" fmla="*/ 202190 h 725714"/>
              <a:gd name="connsiteX2" fmla="*/ 879609 w 887990"/>
              <a:gd name="connsiteY2" fmla="*/ 285326 h 725714"/>
              <a:gd name="connsiteX3" fmla="*/ 339271 w 887990"/>
              <a:gd name="connsiteY3" fmla="*/ 725714 h 725714"/>
              <a:gd name="connsiteX4" fmla="*/ 310015 w 887990"/>
              <a:gd name="connsiteY4" fmla="*/ 722765 h 725714"/>
              <a:gd name="connsiteX5" fmla="*/ 0 w 887990"/>
              <a:gd name="connsiteY5" fmla="*/ 412750 h 725714"/>
              <a:gd name="connsiteX6" fmla="*/ 38100 w 887990"/>
              <a:gd name="connsiteY6" fmla="*/ 25400 h 725714"/>
              <a:gd name="connsiteX7" fmla="*/ 463550 w 887990"/>
              <a:gd name="connsiteY7" fmla="*/ 3810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7990" h="725714">
                <a:moveTo>
                  <a:pt x="685800" y="0"/>
                </a:moveTo>
                <a:lnTo>
                  <a:pt x="887990" y="202190"/>
                </a:lnTo>
                <a:lnTo>
                  <a:pt x="879609" y="285326"/>
                </a:lnTo>
                <a:cubicBezTo>
                  <a:pt x="828179" y="536655"/>
                  <a:pt x="605804" y="725714"/>
                  <a:pt x="339271" y="725714"/>
                </a:cubicBezTo>
                <a:lnTo>
                  <a:pt x="310015" y="722765"/>
                </a:lnTo>
                <a:lnTo>
                  <a:pt x="0" y="412750"/>
                </a:lnTo>
                <a:lnTo>
                  <a:pt x="38100" y="25400"/>
                </a:lnTo>
                <a:lnTo>
                  <a:pt x="463550" y="38100"/>
                </a:ln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87FE12EC-BD2D-4085-99F5-4BED3FB191B0}"/>
              </a:ext>
            </a:extLst>
          </p:cNvPr>
          <p:cNvSpPr/>
          <p:nvPr/>
        </p:nvSpPr>
        <p:spPr>
          <a:xfrm>
            <a:off x="10036559" y="5023638"/>
            <a:ext cx="609118" cy="629962"/>
          </a:xfrm>
          <a:custGeom>
            <a:avLst/>
            <a:gdLst>
              <a:gd name="connsiteX0" fmla="*/ 350520 w 874867"/>
              <a:gd name="connsiteY0" fmla="*/ 0 h 904805"/>
              <a:gd name="connsiteX1" fmla="*/ 594360 w 874867"/>
              <a:gd name="connsiteY1" fmla="*/ 160020 h 904805"/>
              <a:gd name="connsiteX2" fmla="*/ 874867 w 874867"/>
              <a:gd name="connsiteY2" fmla="*/ 440527 h 904805"/>
              <a:gd name="connsiteX3" fmla="*/ 871821 w 874867"/>
              <a:gd name="connsiteY3" fmla="*/ 470746 h 904805"/>
              <a:gd name="connsiteX4" fmla="*/ 442638 w 874867"/>
              <a:gd name="connsiteY4" fmla="*/ 899929 h 904805"/>
              <a:gd name="connsiteX5" fmla="*/ 394265 w 874867"/>
              <a:gd name="connsiteY5" fmla="*/ 904805 h 904805"/>
              <a:gd name="connsiteX6" fmla="*/ 30480 w 874867"/>
              <a:gd name="connsiteY6" fmla="*/ 541020 h 904805"/>
              <a:gd name="connsiteX7" fmla="*/ 0 w 874867"/>
              <a:gd name="connsiteY7" fmla="*/ 281940 h 904805"/>
              <a:gd name="connsiteX8" fmla="*/ 106680 w 874867"/>
              <a:gd name="connsiteY8" fmla="*/ 68580 h 90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74867" h="904805">
                <a:moveTo>
                  <a:pt x="350520" y="0"/>
                </a:moveTo>
                <a:lnTo>
                  <a:pt x="594360" y="160020"/>
                </a:lnTo>
                <a:lnTo>
                  <a:pt x="874867" y="440527"/>
                </a:lnTo>
                <a:lnTo>
                  <a:pt x="871821" y="470746"/>
                </a:lnTo>
                <a:cubicBezTo>
                  <a:pt x="827739" y="686171"/>
                  <a:pt x="658063" y="855846"/>
                  <a:pt x="442638" y="899929"/>
                </a:cubicBezTo>
                <a:lnTo>
                  <a:pt x="394265" y="904805"/>
                </a:lnTo>
                <a:lnTo>
                  <a:pt x="30480" y="541020"/>
                </a:lnTo>
                <a:lnTo>
                  <a:pt x="0" y="281940"/>
                </a:lnTo>
                <a:lnTo>
                  <a:pt x="106680" y="68580"/>
                </a:ln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7760182-4709-49EF-B189-0BC48844373E}"/>
              </a:ext>
            </a:extLst>
          </p:cNvPr>
          <p:cNvSpPr/>
          <p:nvPr/>
        </p:nvSpPr>
        <p:spPr>
          <a:xfrm>
            <a:off x="7301052" y="4889993"/>
            <a:ext cx="768012" cy="7680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E67B2C03-3BCE-469C-BFCE-2B4F9638ED4E}"/>
              </a:ext>
            </a:extLst>
          </p:cNvPr>
          <p:cNvSpPr/>
          <p:nvPr/>
        </p:nvSpPr>
        <p:spPr>
          <a:xfrm>
            <a:off x="7423673" y="5095260"/>
            <a:ext cx="644941" cy="562746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62" name="Graphic 61" descr="Game controller">
            <a:extLst>
              <a:ext uri="{FF2B5EF4-FFF2-40B4-BE49-F238E27FC236}">
                <a16:creationId xmlns:a16="http://schemas.microsoft.com/office/drawing/2014/main" id="{6C36759D-DCF5-4D82-AAEE-BBD8413816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6737" y="4955678"/>
            <a:ext cx="636642" cy="636642"/>
          </a:xfrm>
          <a:prstGeom prst="rect">
            <a:avLst/>
          </a:prstGeom>
        </p:spPr>
      </p:pic>
      <p:pic>
        <p:nvPicPr>
          <p:cNvPr id="63" name="Graphic 62" descr="Telephone">
            <a:extLst>
              <a:ext uri="{FF2B5EF4-FFF2-40B4-BE49-F238E27FC236}">
                <a16:creationId xmlns:a16="http://schemas.microsoft.com/office/drawing/2014/main" id="{2971D992-4BF9-45D7-993B-664FEF3D90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88265" y="4959915"/>
            <a:ext cx="636642" cy="636642"/>
          </a:xfrm>
          <a:prstGeom prst="rect">
            <a:avLst/>
          </a:prstGeom>
        </p:spPr>
      </p:pic>
      <p:pic>
        <p:nvPicPr>
          <p:cNvPr id="64" name="Graphic 63" descr="Receiver">
            <a:extLst>
              <a:ext uri="{FF2B5EF4-FFF2-40B4-BE49-F238E27FC236}">
                <a16:creationId xmlns:a16="http://schemas.microsoft.com/office/drawing/2014/main" id="{C29107DD-22A3-4CE2-8360-CC43CBB3507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63881" y="4971691"/>
            <a:ext cx="562300" cy="562300"/>
          </a:xfrm>
          <a:prstGeom prst="rect">
            <a:avLst/>
          </a:prstGeom>
        </p:spPr>
      </p:pic>
      <p:pic>
        <p:nvPicPr>
          <p:cNvPr id="65" name="Graphic 64" descr="Open Folder">
            <a:extLst>
              <a:ext uri="{FF2B5EF4-FFF2-40B4-BE49-F238E27FC236}">
                <a16:creationId xmlns:a16="http://schemas.microsoft.com/office/drawing/2014/main" id="{C1EA071E-9C58-4C89-AFC6-4913D3C1BC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33040" y="4962849"/>
            <a:ext cx="636642" cy="636642"/>
          </a:xfrm>
          <a:prstGeom prst="rect">
            <a:avLst/>
          </a:prstGeom>
        </p:spPr>
      </p:pic>
      <p:pic>
        <p:nvPicPr>
          <p:cNvPr id="66" name="Graphic 65" descr="Record">
            <a:extLst>
              <a:ext uri="{FF2B5EF4-FFF2-40B4-BE49-F238E27FC236}">
                <a16:creationId xmlns:a16="http://schemas.microsoft.com/office/drawing/2014/main" id="{5F0BCB0F-B114-4B21-836C-14C1F975CE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49029" y="4955678"/>
            <a:ext cx="636642" cy="63664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4DE959A-D795-4CD4-84BB-9BF2CE65B986}"/>
              </a:ext>
            </a:extLst>
          </p:cNvPr>
          <p:cNvSpPr/>
          <p:nvPr/>
        </p:nvSpPr>
        <p:spPr>
          <a:xfrm>
            <a:off x="3649375" y="2084715"/>
            <a:ext cx="1277086" cy="1277086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F50628E-DAA2-48BF-A983-769A368FB3C0}"/>
              </a:ext>
            </a:extLst>
          </p:cNvPr>
          <p:cNvSpPr/>
          <p:nvPr/>
        </p:nvSpPr>
        <p:spPr>
          <a:xfrm>
            <a:off x="1941109" y="2373889"/>
            <a:ext cx="2527791" cy="252779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D7389CF1-A755-4DD1-B8A6-FD0E3FE27290}"/>
              </a:ext>
            </a:extLst>
          </p:cNvPr>
          <p:cNvSpPr/>
          <p:nvPr/>
        </p:nvSpPr>
        <p:spPr>
          <a:xfrm>
            <a:off x="2344697" y="3049492"/>
            <a:ext cx="2122722" cy="1852190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  <a:gd name="connsiteX0" fmla="*/ 630899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  <a:gd name="connsiteX8" fmla="*/ 630899 w 926320"/>
              <a:gd name="connsiteY8" fmla="*/ 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26320" h="808264">
                <a:moveTo>
                  <a:pt x="630899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ubicBezTo>
                  <a:pt x="461433" y="67733"/>
                  <a:pt x="537766" y="33867"/>
                  <a:pt x="630899" y="0"/>
                </a:cubicBezTo>
                <a:close/>
              </a:path>
            </a:pathLst>
          </a:custGeom>
          <a:gradFill>
            <a:gsLst>
              <a:gs pos="4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70" name="Graphic 69" descr="Game controller">
            <a:extLst>
              <a:ext uri="{FF2B5EF4-FFF2-40B4-BE49-F238E27FC236}">
                <a16:creationId xmlns:a16="http://schemas.microsoft.com/office/drawing/2014/main" id="{CEC08F92-B3B5-4452-927B-76ED5E18FB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7299" y="2590079"/>
            <a:ext cx="2095408" cy="209540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3C732C5-AD49-4520-8E5F-5C3A29F0DA37}"/>
              </a:ext>
            </a:extLst>
          </p:cNvPr>
          <p:cNvGrpSpPr/>
          <p:nvPr/>
        </p:nvGrpSpPr>
        <p:grpSpPr>
          <a:xfrm>
            <a:off x="1123945" y="5116417"/>
            <a:ext cx="1163778" cy="1163778"/>
            <a:chOff x="7860029" y="3777234"/>
            <a:chExt cx="1103085" cy="1103085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4A4065F-18D8-43C6-946B-998982CE905A}"/>
                </a:ext>
              </a:extLst>
            </p:cNvPr>
            <p:cNvSpPr/>
            <p:nvPr/>
          </p:nvSpPr>
          <p:spPr>
            <a:xfrm>
              <a:off x="7860029" y="3777234"/>
              <a:ext cx="1103085" cy="110308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CE1DA08-3513-4B2C-96C9-F5C224A5CC30}"/>
                </a:ext>
              </a:extLst>
            </p:cNvPr>
            <p:cNvSpPr/>
            <p:nvPr/>
          </p:nvSpPr>
          <p:spPr>
            <a:xfrm>
              <a:off x="8080089" y="3969186"/>
              <a:ext cx="874867" cy="904805"/>
            </a:xfrm>
            <a:custGeom>
              <a:avLst/>
              <a:gdLst>
                <a:gd name="connsiteX0" fmla="*/ 350520 w 874867"/>
                <a:gd name="connsiteY0" fmla="*/ 0 h 904805"/>
                <a:gd name="connsiteX1" fmla="*/ 594360 w 874867"/>
                <a:gd name="connsiteY1" fmla="*/ 160020 h 904805"/>
                <a:gd name="connsiteX2" fmla="*/ 874867 w 874867"/>
                <a:gd name="connsiteY2" fmla="*/ 440527 h 904805"/>
                <a:gd name="connsiteX3" fmla="*/ 871821 w 874867"/>
                <a:gd name="connsiteY3" fmla="*/ 470746 h 904805"/>
                <a:gd name="connsiteX4" fmla="*/ 442638 w 874867"/>
                <a:gd name="connsiteY4" fmla="*/ 899929 h 904805"/>
                <a:gd name="connsiteX5" fmla="*/ 394265 w 874867"/>
                <a:gd name="connsiteY5" fmla="*/ 904805 h 904805"/>
                <a:gd name="connsiteX6" fmla="*/ 30480 w 874867"/>
                <a:gd name="connsiteY6" fmla="*/ 541020 h 904805"/>
                <a:gd name="connsiteX7" fmla="*/ 0 w 874867"/>
                <a:gd name="connsiteY7" fmla="*/ 281940 h 904805"/>
                <a:gd name="connsiteX8" fmla="*/ 106680 w 874867"/>
                <a:gd name="connsiteY8" fmla="*/ 68580 h 90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4867" h="904805">
                  <a:moveTo>
                    <a:pt x="350520" y="0"/>
                  </a:moveTo>
                  <a:lnTo>
                    <a:pt x="594360" y="160020"/>
                  </a:lnTo>
                  <a:lnTo>
                    <a:pt x="874867" y="440527"/>
                  </a:lnTo>
                  <a:lnTo>
                    <a:pt x="871821" y="470746"/>
                  </a:lnTo>
                  <a:cubicBezTo>
                    <a:pt x="827739" y="686171"/>
                    <a:pt x="658063" y="855846"/>
                    <a:pt x="442638" y="899929"/>
                  </a:cubicBezTo>
                  <a:lnTo>
                    <a:pt x="394265" y="904805"/>
                  </a:lnTo>
                  <a:lnTo>
                    <a:pt x="30480" y="541020"/>
                  </a:lnTo>
                  <a:lnTo>
                    <a:pt x="0" y="281940"/>
                  </a:lnTo>
                  <a:lnTo>
                    <a:pt x="106680" y="68580"/>
                  </a:lnTo>
                  <a:close/>
                </a:path>
              </a:pathLst>
            </a:custGeom>
            <a:gradFill>
              <a:gsLst>
                <a:gs pos="4000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73" name="Graphic 72" descr="Record">
              <a:extLst>
                <a:ext uri="{FF2B5EF4-FFF2-40B4-BE49-F238E27FC236}">
                  <a16:creationId xmlns:a16="http://schemas.microsoft.com/office/drawing/2014/main" id="{9BF2B669-0D41-4ADE-8530-DA8AF1CDB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954371" y="3871576"/>
              <a:ext cx="914400" cy="9144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C0C4690-AF85-438B-8AD2-B42592C85D01}"/>
              </a:ext>
            </a:extLst>
          </p:cNvPr>
          <p:cNvGrpSpPr/>
          <p:nvPr/>
        </p:nvGrpSpPr>
        <p:grpSpPr>
          <a:xfrm>
            <a:off x="710501" y="978792"/>
            <a:ext cx="1316374" cy="1316374"/>
            <a:chOff x="4449137" y="2695825"/>
            <a:chExt cx="1103086" cy="1103086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93CBB6C-D732-490C-86D4-73DB0D8CA36E}"/>
                </a:ext>
              </a:extLst>
            </p:cNvPr>
            <p:cNvSpPr/>
            <p:nvPr/>
          </p:nvSpPr>
          <p:spPr>
            <a:xfrm>
              <a:off x="4449137" y="2695825"/>
              <a:ext cx="1103085" cy="1103085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42B4EFA-BEC5-4C64-A8B7-A9D82B5203AA}"/>
                </a:ext>
              </a:extLst>
            </p:cNvPr>
            <p:cNvSpPr/>
            <p:nvPr/>
          </p:nvSpPr>
          <p:spPr>
            <a:xfrm>
              <a:off x="4686300" y="3003347"/>
              <a:ext cx="865923" cy="795564"/>
            </a:xfrm>
            <a:custGeom>
              <a:avLst/>
              <a:gdLst>
                <a:gd name="connsiteX0" fmla="*/ 228600 w 865923"/>
                <a:gd name="connsiteY0" fmla="*/ 0 h 795564"/>
                <a:gd name="connsiteX1" fmla="*/ 660400 w 865923"/>
                <a:gd name="connsiteY1" fmla="*/ 69850 h 795564"/>
                <a:gd name="connsiteX2" fmla="*/ 863739 w 865923"/>
                <a:gd name="connsiteY2" fmla="*/ 222354 h 795564"/>
                <a:gd name="connsiteX3" fmla="*/ 865923 w 865923"/>
                <a:gd name="connsiteY3" fmla="*/ 244021 h 795564"/>
                <a:gd name="connsiteX4" fmla="*/ 314380 w 865923"/>
                <a:gd name="connsiteY4" fmla="*/ 795564 h 795564"/>
                <a:gd name="connsiteX5" fmla="*/ 312805 w 865923"/>
                <a:gd name="connsiteY5" fmla="*/ 795405 h 795564"/>
                <a:gd name="connsiteX6" fmla="*/ 31750 w 865923"/>
                <a:gd name="connsiteY6" fmla="*/ 514350 h 795564"/>
                <a:gd name="connsiteX7" fmla="*/ 127000 w 865923"/>
                <a:gd name="connsiteY7" fmla="*/ 292100 h 795564"/>
                <a:gd name="connsiteX8" fmla="*/ 12700 w 865923"/>
                <a:gd name="connsiteY8" fmla="*/ 177800 h 795564"/>
                <a:gd name="connsiteX9" fmla="*/ 0 w 865923"/>
                <a:gd name="connsiteY9" fmla="*/ 107950 h 79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5923" h="795564">
                  <a:moveTo>
                    <a:pt x="228600" y="0"/>
                  </a:moveTo>
                  <a:lnTo>
                    <a:pt x="660400" y="69850"/>
                  </a:lnTo>
                  <a:lnTo>
                    <a:pt x="863739" y="222354"/>
                  </a:lnTo>
                  <a:lnTo>
                    <a:pt x="865923" y="244021"/>
                  </a:lnTo>
                  <a:cubicBezTo>
                    <a:pt x="865923" y="548630"/>
                    <a:pt x="618989" y="795564"/>
                    <a:pt x="314380" y="795564"/>
                  </a:cubicBezTo>
                  <a:lnTo>
                    <a:pt x="312805" y="795405"/>
                  </a:lnTo>
                  <a:lnTo>
                    <a:pt x="31750" y="514350"/>
                  </a:lnTo>
                  <a:lnTo>
                    <a:pt x="127000" y="292100"/>
                  </a:lnTo>
                  <a:lnTo>
                    <a:pt x="12700" y="177800"/>
                  </a:lnTo>
                  <a:lnTo>
                    <a:pt x="0" y="107950"/>
                  </a:lnTo>
                  <a:close/>
                </a:path>
              </a:pathLst>
            </a:custGeom>
            <a:gradFill>
              <a:gsLst>
                <a:gs pos="40000">
                  <a:schemeClr val="accent5"/>
                </a:gs>
                <a:gs pos="100000">
                  <a:schemeClr val="accent5">
                    <a:lumMod val="40000"/>
                    <a:lumOff val="6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pic>
          <p:nvPicPr>
            <p:cNvPr id="77" name="Graphic 76" descr="Telephone">
              <a:extLst>
                <a:ext uri="{FF2B5EF4-FFF2-40B4-BE49-F238E27FC236}">
                  <a16:creationId xmlns:a16="http://schemas.microsoft.com/office/drawing/2014/main" id="{B054E716-6F50-430B-A220-5319C3593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43479" y="2796253"/>
              <a:ext cx="914400" cy="914400"/>
            </a:xfrm>
            <a:prstGeom prst="rect">
              <a:avLst/>
            </a:prstGeom>
          </p:spPr>
        </p:pic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52530928-9562-474F-A898-CE32A4D73E8C}"/>
              </a:ext>
            </a:extLst>
          </p:cNvPr>
          <p:cNvSpPr txBox="1"/>
          <p:nvPr/>
        </p:nvSpPr>
        <p:spPr>
          <a:xfrm>
            <a:off x="6440288" y="1183144"/>
            <a:ext cx="316458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tx2"/>
                </a:solidFill>
              </a:rPr>
              <a:t>ICONS | BUBBLE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931D20-161B-41F9-A6FB-36A7EE5AA937}"/>
              </a:ext>
            </a:extLst>
          </p:cNvPr>
          <p:cNvSpPr txBox="1"/>
          <p:nvPr/>
        </p:nvSpPr>
        <p:spPr>
          <a:xfrm>
            <a:off x="6440289" y="1916569"/>
            <a:ext cx="5015272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ndard icons in dark color with a 45° background gradient shadow from the icon to‑the background color</a:t>
            </a:r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1985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71DBBAC-A4DB-4241-BBBE-68B579F06E4E}"/>
              </a:ext>
            </a:extLst>
          </p:cNvPr>
          <p:cNvSpPr/>
          <p:nvPr/>
        </p:nvSpPr>
        <p:spPr>
          <a:xfrm>
            <a:off x="2075281" y="1766752"/>
            <a:ext cx="5329544" cy="2794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DF45C45-3CD3-4801-9A49-1AE1B3E0BD09}"/>
              </a:ext>
            </a:extLst>
          </p:cNvPr>
          <p:cNvSpPr/>
          <p:nvPr/>
        </p:nvSpPr>
        <p:spPr>
          <a:xfrm>
            <a:off x="2075280" y="2287452"/>
            <a:ext cx="8382001" cy="2794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16D9F"/>
              </a:gs>
              <a:gs pos="54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60CCF74-8EFF-41E2-856C-DE05305536F0}"/>
              </a:ext>
            </a:extLst>
          </p:cNvPr>
          <p:cNvSpPr/>
          <p:nvPr/>
        </p:nvSpPr>
        <p:spPr>
          <a:xfrm>
            <a:off x="2075281" y="2808152"/>
            <a:ext cx="5329544" cy="2794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653BCB6-62DC-49E3-ABCB-34F40D52FECC}"/>
              </a:ext>
            </a:extLst>
          </p:cNvPr>
          <p:cNvSpPr/>
          <p:nvPr/>
        </p:nvSpPr>
        <p:spPr>
          <a:xfrm>
            <a:off x="2075281" y="3328852"/>
            <a:ext cx="4750246" cy="2794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6AA75D-8220-456A-AE72-341FDAECD224}"/>
              </a:ext>
            </a:extLst>
          </p:cNvPr>
          <p:cNvSpPr/>
          <p:nvPr/>
        </p:nvSpPr>
        <p:spPr>
          <a:xfrm>
            <a:off x="2075281" y="3849552"/>
            <a:ext cx="2771720" cy="2794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1C1126-BD10-4650-9193-7BF710F8EDE9}"/>
              </a:ext>
            </a:extLst>
          </p:cNvPr>
          <p:cNvSpPr/>
          <p:nvPr/>
        </p:nvSpPr>
        <p:spPr>
          <a:xfrm>
            <a:off x="2075281" y="4370252"/>
            <a:ext cx="3769895" cy="279400"/>
          </a:xfrm>
          <a:prstGeom prst="roundRect">
            <a:avLst>
              <a:gd name="adj" fmla="val 50000"/>
            </a:avLst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846FD3-76F0-4E94-BAA1-81A26D5E5F1A}"/>
              </a:ext>
            </a:extLst>
          </p:cNvPr>
          <p:cNvGrpSpPr/>
          <p:nvPr/>
        </p:nvGrpSpPr>
        <p:grpSpPr>
          <a:xfrm>
            <a:off x="2075281" y="1766752"/>
            <a:ext cx="2317193" cy="2882900"/>
            <a:chOff x="3263899" y="1612900"/>
            <a:chExt cx="5972175" cy="2882900"/>
          </a:xfrm>
          <a:solidFill>
            <a:schemeClr val="bg1">
              <a:lumMod val="60000"/>
              <a:lumOff val="40000"/>
            </a:schemeClr>
          </a:solidFill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4C6CC0D-CCA1-4D1B-8F0B-B2360E4F60AD}"/>
                </a:ext>
              </a:extLst>
            </p:cNvPr>
            <p:cNvSpPr/>
            <p:nvPr/>
          </p:nvSpPr>
          <p:spPr>
            <a:xfrm>
              <a:off x="3263900" y="1612900"/>
              <a:ext cx="3797300" cy="2794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B726E0E-3055-412F-A7BB-0B72908A3CAA}"/>
                </a:ext>
              </a:extLst>
            </p:cNvPr>
            <p:cNvSpPr/>
            <p:nvPr/>
          </p:nvSpPr>
          <p:spPr>
            <a:xfrm>
              <a:off x="3263899" y="2133600"/>
              <a:ext cx="5972175" cy="27940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409107C-34F8-4386-B501-16184C068915}"/>
                </a:ext>
              </a:extLst>
            </p:cNvPr>
            <p:cNvSpPr/>
            <p:nvPr/>
          </p:nvSpPr>
          <p:spPr>
            <a:xfrm>
              <a:off x="3263900" y="2654300"/>
              <a:ext cx="3797300" cy="2794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C77D6D64-7835-4C9E-9EC7-AD2FAE1D0A89}"/>
                </a:ext>
              </a:extLst>
            </p:cNvPr>
            <p:cNvSpPr/>
            <p:nvPr/>
          </p:nvSpPr>
          <p:spPr>
            <a:xfrm>
              <a:off x="3263900" y="3175000"/>
              <a:ext cx="3384550" cy="2794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E252288-CFDE-4CD8-8D05-88DB16D02D65}"/>
                </a:ext>
              </a:extLst>
            </p:cNvPr>
            <p:cNvSpPr/>
            <p:nvPr/>
          </p:nvSpPr>
          <p:spPr>
            <a:xfrm>
              <a:off x="3263900" y="3695700"/>
              <a:ext cx="1974850" cy="2794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3AD16E-35F5-4D3D-83AA-98B34C2E47D4}"/>
                </a:ext>
              </a:extLst>
            </p:cNvPr>
            <p:cNvSpPr/>
            <p:nvPr/>
          </p:nvSpPr>
          <p:spPr>
            <a:xfrm>
              <a:off x="3263900" y="4216400"/>
              <a:ext cx="2686050" cy="2794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E77A64-C231-462B-8AE5-3DE3F4381661}"/>
              </a:ext>
            </a:extLst>
          </p:cNvPr>
          <p:cNvSpPr txBox="1"/>
          <p:nvPr/>
        </p:nvSpPr>
        <p:spPr>
          <a:xfrm>
            <a:off x="525881" y="1675619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AA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F81737-8F31-4A8E-BD67-371239781EC6}"/>
              </a:ext>
            </a:extLst>
          </p:cNvPr>
          <p:cNvSpPr txBox="1"/>
          <p:nvPr/>
        </p:nvSpPr>
        <p:spPr>
          <a:xfrm>
            <a:off x="525881" y="2196319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accent1"/>
                </a:solidFill>
              </a:rPr>
              <a:t>BB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EC6E30-96E9-45C9-B40D-9488543762D3}"/>
              </a:ext>
            </a:extLst>
          </p:cNvPr>
          <p:cNvSpPr txBox="1"/>
          <p:nvPr/>
        </p:nvSpPr>
        <p:spPr>
          <a:xfrm>
            <a:off x="525881" y="2717019"/>
            <a:ext cx="739498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904C72-21A8-412E-9233-0E9DFFB01645}"/>
              </a:ext>
            </a:extLst>
          </p:cNvPr>
          <p:cNvSpPr txBox="1"/>
          <p:nvPr/>
        </p:nvSpPr>
        <p:spPr>
          <a:xfrm>
            <a:off x="525881" y="3230991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ADC7E3-2A41-4B4B-9840-29C3A7CAB892}"/>
              </a:ext>
            </a:extLst>
          </p:cNvPr>
          <p:cNvSpPr txBox="1"/>
          <p:nvPr/>
        </p:nvSpPr>
        <p:spPr>
          <a:xfrm>
            <a:off x="525881" y="3758419"/>
            <a:ext cx="660758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AEE057-CD3D-4826-868A-912DB96BF38E}"/>
              </a:ext>
            </a:extLst>
          </p:cNvPr>
          <p:cNvSpPr txBox="1"/>
          <p:nvPr/>
        </p:nvSpPr>
        <p:spPr>
          <a:xfrm>
            <a:off x="525881" y="4279119"/>
            <a:ext cx="646331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822C06-3564-44B0-A787-3674A0B6C05B}"/>
              </a:ext>
            </a:extLst>
          </p:cNvPr>
          <p:cNvSpPr txBox="1"/>
          <p:nvPr/>
        </p:nvSpPr>
        <p:spPr>
          <a:xfrm>
            <a:off x="525881" y="833734"/>
            <a:ext cx="2762295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05D966-7900-4F1D-A5C5-15774BC5129D}"/>
              </a:ext>
            </a:extLst>
          </p:cNvPr>
          <p:cNvSpPr txBox="1"/>
          <p:nvPr/>
        </p:nvSpPr>
        <p:spPr>
          <a:xfrm>
            <a:off x="587375" y="5380672"/>
            <a:ext cx="11127377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rts as graphics if necessary | Highlight with strong colors</a:t>
            </a:r>
            <a:endParaRPr lang="de-DE" altLang="de-DE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9956E4-010A-4050-8456-04AA3970D3D7}"/>
              </a:ext>
            </a:extLst>
          </p:cNvPr>
          <p:cNvSpPr txBox="1"/>
          <p:nvPr/>
        </p:nvSpPr>
        <p:spPr>
          <a:xfrm>
            <a:off x="7465052" y="1675619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5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0894851-8724-4F50-BE12-7D2EBD2CEA06}"/>
              </a:ext>
            </a:extLst>
          </p:cNvPr>
          <p:cNvSpPr txBox="1"/>
          <p:nvPr/>
        </p:nvSpPr>
        <p:spPr>
          <a:xfrm>
            <a:off x="10611674" y="2196319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accent1"/>
                </a:solidFill>
              </a:rPr>
              <a:t>9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0C0E8FE-2C2A-41BA-BA76-B804ADEA2DF6}"/>
              </a:ext>
            </a:extLst>
          </p:cNvPr>
          <p:cNvSpPr txBox="1"/>
          <p:nvPr/>
        </p:nvSpPr>
        <p:spPr>
          <a:xfrm>
            <a:off x="7465052" y="2717019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5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EF31F0-6B4E-4AA6-AE04-EE9B2D7C4255}"/>
              </a:ext>
            </a:extLst>
          </p:cNvPr>
          <p:cNvSpPr txBox="1"/>
          <p:nvPr/>
        </p:nvSpPr>
        <p:spPr>
          <a:xfrm>
            <a:off x="7046805" y="3230991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4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775F26-3034-4C5D-9AAA-F06674C57249}"/>
              </a:ext>
            </a:extLst>
          </p:cNvPr>
          <p:cNvSpPr txBox="1"/>
          <p:nvPr/>
        </p:nvSpPr>
        <p:spPr>
          <a:xfrm>
            <a:off x="4847001" y="3758419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2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9ECA91-76D5-4AF9-A462-38B1310402B5}"/>
              </a:ext>
            </a:extLst>
          </p:cNvPr>
          <p:cNvSpPr txBox="1"/>
          <p:nvPr/>
        </p:nvSpPr>
        <p:spPr>
          <a:xfrm>
            <a:off x="6002425" y="4279119"/>
            <a:ext cx="52770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3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88375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7145FC0-7074-4654-BFB2-9079D94333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7145FC0-7074-4654-BFB2-9079D9433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74611A9E-EFF3-4BFF-8292-E729751B99C4}"/>
              </a:ext>
            </a:extLst>
          </p:cNvPr>
          <p:cNvSpPr/>
          <p:nvPr/>
        </p:nvSpPr>
        <p:spPr>
          <a:xfrm>
            <a:off x="-15212" y="1398588"/>
            <a:ext cx="12207212" cy="394811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71DBBAC-A4DB-4241-BBBE-68B579F06E4E}"/>
              </a:ext>
            </a:extLst>
          </p:cNvPr>
          <p:cNvSpPr/>
          <p:nvPr/>
        </p:nvSpPr>
        <p:spPr>
          <a:xfrm rot="16200000">
            <a:off x="470291" y="3535792"/>
            <a:ext cx="1767622" cy="279400"/>
          </a:xfrm>
          <a:prstGeom prst="roundRect">
            <a:avLst>
              <a:gd name="adj" fmla="val 50000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4C6CC0D-CCA1-4D1B-8F0B-B2360E4F60AD}"/>
              </a:ext>
            </a:extLst>
          </p:cNvPr>
          <p:cNvSpPr/>
          <p:nvPr/>
        </p:nvSpPr>
        <p:spPr>
          <a:xfrm rot="16200000">
            <a:off x="1109773" y="4175274"/>
            <a:ext cx="488657" cy="279400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C4E90C8-4617-429E-8E1D-5725A5231234}"/>
              </a:ext>
            </a:extLst>
          </p:cNvPr>
          <p:cNvGrpSpPr/>
          <p:nvPr/>
        </p:nvGrpSpPr>
        <p:grpSpPr>
          <a:xfrm>
            <a:off x="2249541" y="1779289"/>
            <a:ext cx="279400" cy="2780014"/>
            <a:chOff x="2170531" y="1779289"/>
            <a:chExt cx="279400" cy="2780014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CDF45C45-3CD3-4801-9A49-1AE1B3E0BD09}"/>
                </a:ext>
              </a:extLst>
            </p:cNvPr>
            <p:cNvSpPr/>
            <p:nvPr/>
          </p:nvSpPr>
          <p:spPr>
            <a:xfrm rot="16200000">
              <a:off x="920224" y="3029596"/>
              <a:ext cx="2780014" cy="2794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B726E0E-3055-412F-A7BB-0B72908A3CAA}"/>
                </a:ext>
              </a:extLst>
            </p:cNvPr>
            <p:cNvSpPr/>
            <p:nvPr/>
          </p:nvSpPr>
          <p:spPr>
            <a:xfrm rot="16200000">
              <a:off x="1925965" y="4035337"/>
              <a:ext cx="768531" cy="27940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de-DE" altLang="de-DE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60CCF74-8EFF-41E2-856C-DE05305536F0}"/>
              </a:ext>
            </a:extLst>
          </p:cNvPr>
          <p:cNvSpPr/>
          <p:nvPr/>
        </p:nvSpPr>
        <p:spPr>
          <a:xfrm rot="16200000">
            <a:off x="2540569" y="3535792"/>
            <a:ext cx="1767622" cy="279400"/>
          </a:xfrm>
          <a:prstGeom prst="roundRect">
            <a:avLst>
              <a:gd name="adj" fmla="val 50000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409107C-34F8-4386-B501-16184C068915}"/>
              </a:ext>
            </a:extLst>
          </p:cNvPr>
          <p:cNvSpPr/>
          <p:nvPr/>
        </p:nvSpPr>
        <p:spPr>
          <a:xfrm rot="16200000">
            <a:off x="3180051" y="4175274"/>
            <a:ext cx="488657" cy="279400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653BCB6-62DC-49E3-ABCB-34F40D52FECC}"/>
              </a:ext>
            </a:extLst>
          </p:cNvPr>
          <p:cNvSpPr/>
          <p:nvPr/>
        </p:nvSpPr>
        <p:spPr>
          <a:xfrm rot="16200000">
            <a:off x="3671774" y="3631858"/>
            <a:ext cx="1575489" cy="279400"/>
          </a:xfrm>
          <a:prstGeom prst="roundRect">
            <a:avLst>
              <a:gd name="adj" fmla="val 50000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77D6D64-7835-4C9E-9EC7-AD2FAE1D0A89}"/>
              </a:ext>
            </a:extLst>
          </p:cNvPr>
          <p:cNvSpPr/>
          <p:nvPr/>
        </p:nvSpPr>
        <p:spPr>
          <a:xfrm rot="16200000">
            <a:off x="4241748" y="4201831"/>
            <a:ext cx="435542" cy="279400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6AA75D-8220-456A-AE72-341FDAECD224}"/>
              </a:ext>
            </a:extLst>
          </p:cNvPr>
          <p:cNvSpPr/>
          <p:nvPr/>
        </p:nvSpPr>
        <p:spPr>
          <a:xfrm rot="16200000">
            <a:off x="5035018" y="3959962"/>
            <a:ext cx="919282" cy="279400"/>
          </a:xfrm>
          <a:prstGeom prst="roundRect">
            <a:avLst>
              <a:gd name="adj" fmla="val 50000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252288-CFDE-4CD8-8D05-88DB16D02D65}"/>
              </a:ext>
            </a:extLst>
          </p:cNvPr>
          <p:cNvSpPr/>
          <p:nvPr/>
        </p:nvSpPr>
        <p:spPr>
          <a:xfrm rot="16200000">
            <a:off x="5367591" y="4292535"/>
            <a:ext cx="254134" cy="279400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1C1126-BD10-4650-9193-7BF710F8EDE9}"/>
              </a:ext>
            </a:extLst>
          </p:cNvPr>
          <p:cNvSpPr/>
          <p:nvPr/>
        </p:nvSpPr>
        <p:spPr>
          <a:xfrm rot="16200000">
            <a:off x="5904627" y="3794432"/>
            <a:ext cx="1250341" cy="279400"/>
          </a:xfrm>
          <a:prstGeom prst="roundRect">
            <a:avLst>
              <a:gd name="adj" fmla="val 50000"/>
            </a:avLst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E3AD16E-35F5-4D3D-83AA-98B34C2E47D4}"/>
              </a:ext>
            </a:extLst>
          </p:cNvPr>
          <p:cNvSpPr/>
          <p:nvPr/>
        </p:nvSpPr>
        <p:spPr>
          <a:xfrm rot="16200000">
            <a:off x="6145532" y="4035337"/>
            <a:ext cx="768532" cy="279400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E77A64-C231-462B-8AE5-3DE3F4381661}"/>
              </a:ext>
            </a:extLst>
          </p:cNvPr>
          <p:cNvSpPr txBox="1"/>
          <p:nvPr/>
        </p:nvSpPr>
        <p:spPr>
          <a:xfrm>
            <a:off x="95399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AA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F81737-8F31-4A8E-BD67-371239781EC6}"/>
              </a:ext>
            </a:extLst>
          </p:cNvPr>
          <p:cNvSpPr txBox="1"/>
          <p:nvPr/>
        </p:nvSpPr>
        <p:spPr>
          <a:xfrm>
            <a:off x="1975911" y="4662492"/>
            <a:ext cx="742511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accent2">
                    <a:lumMod val="50000"/>
                  </a:schemeClr>
                </a:solidFill>
              </a:rPr>
              <a:t>BB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EC6E30-96E9-45C9-B40D-9488543762D3}"/>
              </a:ext>
            </a:extLst>
          </p:cNvPr>
          <p:cNvSpPr txBox="1"/>
          <p:nvPr/>
        </p:nvSpPr>
        <p:spPr>
          <a:xfrm>
            <a:off x="299783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CC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904C72-21A8-412E-9233-0E9DFFB01645}"/>
              </a:ext>
            </a:extLst>
          </p:cNvPr>
          <p:cNvSpPr txBox="1"/>
          <p:nvPr/>
        </p:nvSpPr>
        <p:spPr>
          <a:xfrm>
            <a:off x="4072651" y="4662492"/>
            <a:ext cx="8531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DD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ADC7E3-2A41-4B4B-9840-29C3A7CAB892}"/>
              </a:ext>
            </a:extLst>
          </p:cNvPr>
          <p:cNvSpPr txBox="1"/>
          <p:nvPr/>
        </p:nvSpPr>
        <p:spPr>
          <a:xfrm>
            <a:off x="5147471" y="4662492"/>
            <a:ext cx="800219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E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AEE057-CD3D-4826-868A-912DB96BF38E}"/>
              </a:ext>
            </a:extLst>
          </p:cNvPr>
          <p:cNvSpPr txBox="1"/>
          <p:nvPr/>
        </p:nvSpPr>
        <p:spPr>
          <a:xfrm>
            <a:off x="6169390" y="4662492"/>
            <a:ext cx="747320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FF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822C06-3564-44B0-A787-3674A0B6C05B}"/>
              </a:ext>
            </a:extLst>
          </p:cNvPr>
          <p:cNvSpPr txBox="1"/>
          <p:nvPr/>
        </p:nvSpPr>
        <p:spPr>
          <a:xfrm>
            <a:off x="525881" y="833734"/>
            <a:ext cx="2762295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chemeClr val="accent5"/>
                </a:solidFill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05D966-7900-4F1D-A5C5-15774BC5129D}"/>
              </a:ext>
            </a:extLst>
          </p:cNvPr>
          <p:cNvSpPr txBox="1"/>
          <p:nvPr/>
        </p:nvSpPr>
        <p:spPr>
          <a:xfrm>
            <a:off x="587375" y="5716489"/>
            <a:ext cx="11127377" cy="30777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rts gegeben Falls als Grafiken | </a:t>
            </a:r>
            <a:r>
              <a:rPr lang="de-DE" alt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ighlighten</a:t>
            </a:r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rch kräftige Farbe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598857C-2CE9-4D3B-A97A-038D6AF08394}"/>
              </a:ext>
            </a:extLst>
          </p:cNvPr>
          <p:cNvSpPr txBox="1"/>
          <p:nvPr/>
        </p:nvSpPr>
        <p:spPr>
          <a:xfrm>
            <a:off x="7480302" y="1771199"/>
            <a:ext cx="2532681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5"/>
                </a:solidFill>
              </a:rPr>
              <a:t>TITEL FOR </a:t>
            </a:r>
            <a:br>
              <a:rPr lang="de-DE" altLang="de-DE" sz="2800" spc="300" dirty="0">
                <a:solidFill>
                  <a:schemeClr val="accent5"/>
                </a:solidFill>
              </a:rPr>
            </a:br>
            <a:r>
              <a:rPr lang="de-DE" altLang="de-DE" sz="2800" spc="300" dirty="0">
                <a:solidFill>
                  <a:schemeClr val="accent5"/>
                </a:solidFill>
              </a:rPr>
              <a:t>THIS CHAR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A1CB32F-6B7E-43DC-9233-808F1414715B}"/>
              </a:ext>
            </a:extLst>
          </p:cNvPr>
          <p:cNvSpPr txBox="1"/>
          <p:nvPr/>
        </p:nvSpPr>
        <p:spPr>
          <a:xfrm>
            <a:off x="7480303" y="2916104"/>
            <a:ext cx="4132260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ne morning, when Gregor </a:t>
            </a:r>
            <a:r>
              <a:rPr lang="en-US" dirty="0" err="1">
                <a:solidFill>
                  <a:schemeClr val="bg1"/>
                </a:solidFill>
              </a:rPr>
              <a:t>Samsa</a:t>
            </a:r>
            <a:r>
              <a:rPr lang="en-US" dirty="0">
                <a:solidFill>
                  <a:schemeClr val="bg1"/>
                </a:solidFill>
              </a:rPr>
              <a:t> woke from troubled dreams, he found himself transformed in his bed into a horrible vermin. He lay on his </a:t>
            </a:r>
            <a:r>
              <a:rPr lang="en-US" dirty="0" err="1">
                <a:solidFill>
                  <a:schemeClr val="bg1"/>
                </a:solidFill>
              </a:rPr>
              <a:t>armour</a:t>
            </a:r>
            <a:r>
              <a:rPr lang="en-US" dirty="0">
                <a:solidFill>
                  <a:schemeClr val="bg1"/>
                </a:solidFill>
              </a:rPr>
              <a:t>-like back,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nd if he lifted </a:t>
            </a:r>
            <a:r>
              <a:rPr lang="en-US" dirty="0">
                <a:solidFill>
                  <a:schemeClr val="bg1"/>
                </a:solidFill>
              </a:rPr>
              <a:t>his head a little, he could see his brown belly, slightly domed and divided by arches into stiff sections. </a:t>
            </a:r>
            <a:endParaRPr lang="de-DE" altLang="de-DE" sz="2800" spc="3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31624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8B44E9A0-EC7E-454D-A09E-3548CCFF6E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8B44E9A0-EC7E-454D-A09E-3548CCFF6E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CC8A4756-7A04-41DA-A373-6F6145CE2F64}"/>
              </a:ext>
            </a:extLst>
          </p:cNvPr>
          <p:cNvSpPr/>
          <p:nvPr/>
        </p:nvSpPr>
        <p:spPr>
          <a:xfrm>
            <a:off x="1187933" y="1802675"/>
            <a:ext cx="2325188" cy="2325188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tx2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DE3B7BE-0AD2-45FB-BF5F-009A82F0349A}"/>
              </a:ext>
            </a:extLst>
          </p:cNvPr>
          <p:cNvSpPr/>
          <p:nvPr/>
        </p:nvSpPr>
        <p:spPr>
          <a:xfrm>
            <a:off x="5007611" y="1802675"/>
            <a:ext cx="2325188" cy="2325188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de-DE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D2914F9-B653-4C3D-BAE5-DA4446B9C901}"/>
              </a:ext>
            </a:extLst>
          </p:cNvPr>
          <p:cNvSpPr/>
          <p:nvPr/>
        </p:nvSpPr>
        <p:spPr>
          <a:xfrm>
            <a:off x="8741655" y="1802675"/>
            <a:ext cx="2325188" cy="2325188"/>
          </a:xfrm>
          <a:prstGeom prst="ellipse">
            <a:avLst/>
          </a:prstGeom>
          <a:gradFill flip="none" rotWithShape="1">
            <a:gsLst>
              <a:gs pos="0">
                <a:srgbClr val="118116"/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de-DE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30D24DB-5C24-4188-871E-7598D3D70BBA}"/>
              </a:ext>
            </a:extLst>
          </p:cNvPr>
          <p:cNvSpPr/>
          <p:nvPr/>
        </p:nvSpPr>
        <p:spPr>
          <a:xfrm>
            <a:off x="1359200" y="1973943"/>
            <a:ext cx="1982654" cy="19826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56CFEF7-AEC3-4C1E-96D1-D6632CD554D9}"/>
              </a:ext>
            </a:extLst>
          </p:cNvPr>
          <p:cNvSpPr/>
          <p:nvPr/>
        </p:nvSpPr>
        <p:spPr>
          <a:xfrm>
            <a:off x="5178878" y="1973943"/>
            <a:ext cx="1982654" cy="19826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B01CDEF-B626-49C4-840B-2242AA101C8C}"/>
              </a:ext>
            </a:extLst>
          </p:cNvPr>
          <p:cNvSpPr/>
          <p:nvPr/>
        </p:nvSpPr>
        <p:spPr>
          <a:xfrm>
            <a:off x="8912922" y="1973943"/>
            <a:ext cx="1982654" cy="19826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41C0F0F-CD36-40D8-AD16-9FA6EE06E41C}"/>
              </a:ext>
            </a:extLst>
          </p:cNvPr>
          <p:cNvSpPr/>
          <p:nvPr/>
        </p:nvSpPr>
        <p:spPr>
          <a:xfrm>
            <a:off x="-22880" y="2960170"/>
            <a:ext cx="12191999" cy="17322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de-DE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156C4D4-FFB4-4442-9CA6-E6C173AC65CC}"/>
              </a:ext>
            </a:extLst>
          </p:cNvPr>
          <p:cNvSpPr/>
          <p:nvPr/>
        </p:nvSpPr>
        <p:spPr>
          <a:xfrm>
            <a:off x="2279808" y="2457993"/>
            <a:ext cx="141438" cy="552886"/>
          </a:xfrm>
          <a:custGeom>
            <a:avLst/>
            <a:gdLst>
              <a:gd name="connsiteX0" fmla="*/ 139700 w 279400"/>
              <a:gd name="connsiteY0" fmla="*/ 0 h 1092200"/>
              <a:gd name="connsiteX1" fmla="*/ 279399 w 279400"/>
              <a:gd name="connsiteY1" fmla="*/ 916354 h 1092200"/>
              <a:gd name="connsiteX2" fmla="*/ 272102 w 279400"/>
              <a:gd name="connsiteY2" fmla="*/ 916354 h 1092200"/>
              <a:gd name="connsiteX3" fmla="*/ 279400 w 279400"/>
              <a:gd name="connsiteY3" fmla="*/ 952500 h 1092200"/>
              <a:gd name="connsiteX4" fmla="*/ 139700 w 279400"/>
              <a:gd name="connsiteY4" fmla="*/ 1092200 h 1092200"/>
              <a:gd name="connsiteX5" fmla="*/ 0 w 279400"/>
              <a:gd name="connsiteY5" fmla="*/ 952500 h 1092200"/>
              <a:gd name="connsiteX6" fmla="*/ 7298 w 279400"/>
              <a:gd name="connsiteY6" fmla="*/ 916354 h 1092200"/>
              <a:gd name="connsiteX7" fmla="*/ 0 w 279400"/>
              <a:gd name="connsiteY7" fmla="*/ 916354 h 109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9400" h="1092200">
                <a:moveTo>
                  <a:pt x="139700" y="0"/>
                </a:moveTo>
                <a:lnTo>
                  <a:pt x="279399" y="916354"/>
                </a:lnTo>
                <a:lnTo>
                  <a:pt x="272102" y="916354"/>
                </a:lnTo>
                <a:lnTo>
                  <a:pt x="279400" y="952500"/>
                </a:lnTo>
                <a:cubicBezTo>
                  <a:pt x="279400" y="1029654"/>
                  <a:pt x="216854" y="1092200"/>
                  <a:pt x="139700" y="1092200"/>
                </a:cubicBezTo>
                <a:cubicBezTo>
                  <a:pt x="62546" y="1092200"/>
                  <a:pt x="0" y="1029654"/>
                  <a:pt x="0" y="952500"/>
                </a:cubicBezTo>
                <a:lnTo>
                  <a:pt x="7298" y="916354"/>
                </a:lnTo>
                <a:lnTo>
                  <a:pt x="0" y="916354"/>
                </a:lnTo>
                <a:close/>
              </a:path>
            </a:pathLst>
          </a:cu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B8E28F9-7198-4C9D-9EB7-10E987BEE8B3}"/>
              </a:ext>
            </a:extLst>
          </p:cNvPr>
          <p:cNvSpPr/>
          <p:nvPr/>
        </p:nvSpPr>
        <p:spPr>
          <a:xfrm rot="19657435">
            <a:off x="6002401" y="2457993"/>
            <a:ext cx="141438" cy="552886"/>
          </a:xfrm>
          <a:custGeom>
            <a:avLst/>
            <a:gdLst>
              <a:gd name="connsiteX0" fmla="*/ 139700 w 279400"/>
              <a:gd name="connsiteY0" fmla="*/ 0 h 1092200"/>
              <a:gd name="connsiteX1" fmla="*/ 279399 w 279400"/>
              <a:gd name="connsiteY1" fmla="*/ 916354 h 1092200"/>
              <a:gd name="connsiteX2" fmla="*/ 272102 w 279400"/>
              <a:gd name="connsiteY2" fmla="*/ 916354 h 1092200"/>
              <a:gd name="connsiteX3" fmla="*/ 279400 w 279400"/>
              <a:gd name="connsiteY3" fmla="*/ 952500 h 1092200"/>
              <a:gd name="connsiteX4" fmla="*/ 139700 w 279400"/>
              <a:gd name="connsiteY4" fmla="*/ 1092200 h 1092200"/>
              <a:gd name="connsiteX5" fmla="*/ 0 w 279400"/>
              <a:gd name="connsiteY5" fmla="*/ 952500 h 1092200"/>
              <a:gd name="connsiteX6" fmla="*/ 7298 w 279400"/>
              <a:gd name="connsiteY6" fmla="*/ 916354 h 1092200"/>
              <a:gd name="connsiteX7" fmla="*/ 0 w 279400"/>
              <a:gd name="connsiteY7" fmla="*/ 916354 h 109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9400" h="1092200">
                <a:moveTo>
                  <a:pt x="139700" y="0"/>
                </a:moveTo>
                <a:lnTo>
                  <a:pt x="279399" y="916354"/>
                </a:lnTo>
                <a:lnTo>
                  <a:pt x="272102" y="916354"/>
                </a:lnTo>
                <a:lnTo>
                  <a:pt x="279400" y="952500"/>
                </a:lnTo>
                <a:cubicBezTo>
                  <a:pt x="279400" y="1029654"/>
                  <a:pt x="216854" y="1092200"/>
                  <a:pt x="139700" y="1092200"/>
                </a:cubicBezTo>
                <a:cubicBezTo>
                  <a:pt x="62546" y="1092200"/>
                  <a:pt x="0" y="1029654"/>
                  <a:pt x="0" y="952500"/>
                </a:cubicBezTo>
                <a:lnTo>
                  <a:pt x="7298" y="916354"/>
                </a:lnTo>
                <a:lnTo>
                  <a:pt x="0" y="916354"/>
                </a:lnTo>
                <a:close/>
              </a:path>
            </a:pathLst>
          </a:cu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6A1B768-E900-4A8A-BE25-D8B59E1FE458}"/>
              </a:ext>
            </a:extLst>
          </p:cNvPr>
          <p:cNvSpPr/>
          <p:nvPr/>
        </p:nvSpPr>
        <p:spPr>
          <a:xfrm rot="3497560" flipH="1">
            <a:off x="10021115" y="2523878"/>
            <a:ext cx="141438" cy="552886"/>
          </a:xfrm>
          <a:custGeom>
            <a:avLst/>
            <a:gdLst>
              <a:gd name="connsiteX0" fmla="*/ 139700 w 279400"/>
              <a:gd name="connsiteY0" fmla="*/ 0 h 1092200"/>
              <a:gd name="connsiteX1" fmla="*/ 279399 w 279400"/>
              <a:gd name="connsiteY1" fmla="*/ 916354 h 1092200"/>
              <a:gd name="connsiteX2" fmla="*/ 272102 w 279400"/>
              <a:gd name="connsiteY2" fmla="*/ 916354 h 1092200"/>
              <a:gd name="connsiteX3" fmla="*/ 279400 w 279400"/>
              <a:gd name="connsiteY3" fmla="*/ 952500 h 1092200"/>
              <a:gd name="connsiteX4" fmla="*/ 139700 w 279400"/>
              <a:gd name="connsiteY4" fmla="*/ 1092200 h 1092200"/>
              <a:gd name="connsiteX5" fmla="*/ 0 w 279400"/>
              <a:gd name="connsiteY5" fmla="*/ 952500 h 1092200"/>
              <a:gd name="connsiteX6" fmla="*/ 7298 w 279400"/>
              <a:gd name="connsiteY6" fmla="*/ 916354 h 1092200"/>
              <a:gd name="connsiteX7" fmla="*/ 0 w 279400"/>
              <a:gd name="connsiteY7" fmla="*/ 916354 h 109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9400" h="1092200">
                <a:moveTo>
                  <a:pt x="139700" y="0"/>
                </a:moveTo>
                <a:lnTo>
                  <a:pt x="279399" y="916354"/>
                </a:lnTo>
                <a:lnTo>
                  <a:pt x="272102" y="916354"/>
                </a:lnTo>
                <a:lnTo>
                  <a:pt x="279400" y="952500"/>
                </a:lnTo>
                <a:cubicBezTo>
                  <a:pt x="279400" y="1029654"/>
                  <a:pt x="216854" y="1092200"/>
                  <a:pt x="139700" y="1092200"/>
                </a:cubicBezTo>
                <a:cubicBezTo>
                  <a:pt x="62546" y="1092200"/>
                  <a:pt x="0" y="1029654"/>
                  <a:pt x="0" y="952500"/>
                </a:cubicBezTo>
                <a:lnTo>
                  <a:pt x="7298" y="916354"/>
                </a:lnTo>
                <a:lnTo>
                  <a:pt x="0" y="916354"/>
                </a:lnTo>
                <a:close/>
              </a:path>
            </a:pathLst>
          </a:cu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CF242F7-3204-4DB6-A3C3-D8516F2E4BBC}"/>
              </a:ext>
            </a:extLst>
          </p:cNvPr>
          <p:cNvSpPr txBox="1"/>
          <p:nvPr/>
        </p:nvSpPr>
        <p:spPr>
          <a:xfrm>
            <a:off x="941838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3A20E9-F917-42CE-9EF3-65E0A9CEA886}"/>
              </a:ext>
            </a:extLst>
          </p:cNvPr>
          <p:cNvSpPr txBox="1"/>
          <p:nvPr/>
        </p:nvSpPr>
        <p:spPr>
          <a:xfrm>
            <a:off x="3103191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99A77C0-C50A-43C9-B648-3538C02F6F0A}"/>
              </a:ext>
            </a:extLst>
          </p:cNvPr>
          <p:cNvSpPr txBox="1"/>
          <p:nvPr/>
        </p:nvSpPr>
        <p:spPr>
          <a:xfrm>
            <a:off x="4763458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3ED2758-772A-404D-9303-386B57B33135}"/>
              </a:ext>
            </a:extLst>
          </p:cNvPr>
          <p:cNvSpPr txBox="1"/>
          <p:nvPr/>
        </p:nvSpPr>
        <p:spPr>
          <a:xfrm>
            <a:off x="6924811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B9AE8B8-DF63-4663-B306-56584D015C93}"/>
              </a:ext>
            </a:extLst>
          </p:cNvPr>
          <p:cNvSpPr txBox="1"/>
          <p:nvPr/>
        </p:nvSpPr>
        <p:spPr>
          <a:xfrm>
            <a:off x="8498768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7F8C080-0269-4EC3-AD73-902EB7C7CA98}"/>
              </a:ext>
            </a:extLst>
          </p:cNvPr>
          <p:cNvSpPr txBox="1"/>
          <p:nvPr/>
        </p:nvSpPr>
        <p:spPr>
          <a:xfrm>
            <a:off x="10660121" y="3121223"/>
            <a:ext cx="642446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FD6DECF-4FA9-4057-8748-6246F05340A3}"/>
              </a:ext>
            </a:extLst>
          </p:cNvPr>
          <p:cNvSpPr txBox="1">
            <a:spLocks/>
          </p:cNvSpPr>
          <p:nvPr/>
        </p:nvSpPr>
        <p:spPr>
          <a:xfrm>
            <a:off x="894956" y="4285178"/>
            <a:ext cx="2907437" cy="98488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amet,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ectus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lesuada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bero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sit amet commodo magna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os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quis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rna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822C06-3564-44B0-A787-3674A0B6C05B}"/>
              </a:ext>
            </a:extLst>
          </p:cNvPr>
          <p:cNvSpPr txBox="1"/>
          <p:nvPr/>
        </p:nvSpPr>
        <p:spPr>
          <a:xfrm>
            <a:off x="1040098" y="3638310"/>
            <a:ext cx="2762295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chemeClr val="accent5"/>
                </a:solidFill>
              </a:rPr>
              <a:t>LOREM IPSUM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2355791-5E39-444E-B89D-18D683728E91}"/>
              </a:ext>
            </a:extLst>
          </p:cNvPr>
          <p:cNvSpPr txBox="1"/>
          <p:nvPr/>
        </p:nvSpPr>
        <p:spPr>
          <a:xfrm>
            <a:off x="4852819" y="3638310"/>
            <a:ext cx="2762295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5572225-432D-4307-A498-1F66469AED22}"/>
              </a:ext>
            </a:extLst>
          </p:cNvPr>
          <p:cNvSpPr txBox="1"/>
          <p:nvPr/>
        </p:nvSpPr>
        <p:spPr>
          <a:xfrm>
            <a:off x="8579906" y="3638310"/>
            <a:ext cx="2762295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rgbClr val="92D050"/>
                </a:solidFill>
              </a:rPr>
              <a:t>LOREM IPSU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0BCB4E5-586E-4215-81B6-D5AC11EA3141}"/>
              </a:ext>
            </a:extLst>
          </p:cNvPr>
          <p:cNvSpPr txBox="1">
            <a:spLocks/>
          </p:cNvSpPr>
          <p:nvPr/>
        </p:nvSpPr>
        <p:spPr>
          <a:xfrm>
            <a:off x="4763458" y="4285178"/>
            <a:ext cx="2907437" cy="98488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sce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osuere, magna sed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lvinar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ies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purus lectus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lesuada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bero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sit amet commodo magna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os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6F0D601-F27C-4658-A4E0-B839DE3E8ACB}"/>
              </a:ext>
            </a:extLst>
          </p:cNvPr>
          <p:cNvSpPr txBox="1">
            <a:spLocks/>
          </p:cNvSpPr>
          <p:nvPr/>
        </p:nvSpPr>
        <p:spPr>
          <a:xfrm>
            <a:off x="8498768" y="4285178"/>
            <a:ext cx="2907437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amet, consectetuer adipiscing elit. Maecenas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rttitor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gue</a:t>
            </a:r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55265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 dirty="0"/>
              <a:t>Mood Board created with zoo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180BC78-EA0F-4D0B-85C2-CDA92F978662}"/>
              </a:ext>
            </a:extLst>
          </p:cNvPr>
          <p:cNvSpPr txBox="1"/>
          <p:nvPr/>
        </p:nvSpPr>
        <p:spPr>
          <a:xfrm>
            <a:off x="868680" y="817372"/>
            <a:ext cx="3576300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1400" kern="0" dirty="0">
                <a:solidFill>
                  <a:schemeClr val="accent1"/>
                </a:solidFill>
              </a:rPr>
              <a:t>LOOK AND FEEL | SUBHEADLINE | ALLCAP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A5D89F-7E4B-484F-80BF-9905E5C9AF78}"/>
              </a:ext>
            </a:extLst>
          </p:cNvPr>
          <p:cNvSpPr txBox="1"/>
          <p:nvPr/>
        </p:nvSpPr>
        <p:spPr>
          <a:xfrm>
            <a:off x="890451" y="1705667"/>
            <a:ext cx="1336904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SECTION SLID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92D6CE-8AB5-46B4-8DCC-4CD105CE615F}"/>
              </a:ext>
            </a:extLst>
          </p:cNvPr>
          <p:cNvSpPr txBox="1"/>
          <p:nvPr/>
        </p:nvSpPr>
        <p:spPr>
          <a:xfrm>
            <a:off x="3581397" y="1705667"/>
            <a:ext cx="1638269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PICTURE AND TEX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71384D8-4343-413E-8333-266639D85414}"/>
              </a:ext>
            </a:extLst>
          </p:cNvPr>
          <p:cNvSpPr txBox="1"/>
          <p:nvPr/>
        </p:nvSpPr>
        <p:spPr>
          <a:xfrm>
            <a:off x="7791469" y="1705667"/>
            <a:ext cx="2014975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GRAPHICS AND CHARTS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92505223"/>
                  </p:ext>
                </p:extLst>
              </p:nvPr>
            </p:nvGraphicFramePr>
            <p:xfrm>
              <a:off x="3581397" y="2266950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166B4E13-456F-4DE7-8043-47B198AC9D32}">
                    <psez:zmPr id="{DB5CE2D7-AF02-4156-A712-0C51BA2D760F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6" name="Section Zoom 5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581397" y="2266950"/>
                <a:ext cx="3048000" cy="171450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DB52E6A-0FB6-42B7-A9B6-85F8DC9CB22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35342010"/>
                  </p:ext>
                </p:extLst>
              </p:nvPr>
            </p:nvGraphicFramePr>
            <p:xfrm>
              <a:off x="5166357" y="4106717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FD1E6B44-63E4-4285-A079-29EC5D274920}">
                    <psez:zmPr id="{D926C555-14A8-46F5-8AE6-0D11A2768BCA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ADB52E6A-0FB6-42B7-A9B6-85F8DC9CB2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166357" y="410671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134683BA-80C1-4EEF-871C-B3988497708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44668425"/>
                  </p:ext>
                </p:extLst>
              </p:nvPr>
            </p:nvGraphicFramePr>
            <p:xfrm>
              <a:off x="3581397" y="5054944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BD0AB789-343F-4F3E-AB6C-9DEB37B93BF8}">
                    <psez:zmPr id="{B51BB371-3F87-41EB-AF53-9A10081CCEEB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134683BA-80C1-4EEF-871C-B3988497708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3581397" y="5054944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2" name="Section Zoom 11">
                <a:extLst>
                  <a:ext uri="{FF2B5EF4-FFF2-40B4-BE49-F238E27FC236}">
                    <a16:creationId xmlns:a16="http://schemas.microsoft.com/office/drawing/2014/main" id="{8E3B159B-5B2D-4A09-8652-325E096A44A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1789491"/>
                  </p:ext>
                </p:extLst>
              </p:nvPr>
            </p:nvGraphicFramePr>
            <p:xfrm>
              <a:off x="3581397" y="4106717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24425DB3-8D9B-4B7E-A827-C8885314BFAE}">
                    <psez:zmPr id="{B9935F56-3D59-45FF-BA13-4719CB20B6EF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2" name="Section Zoom 11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8E3B159B-5B2D-4A09-8652-325E096A44A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3581397" y="410671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4" name="Section Zoom 13">
                <a:extLst>
                  <a:ext uri="{FF2B5EF4-FFF2-40B4-BE49-F238E27FC236}">
                    <a16:creationId xmlns:a16="http://schemas.microsoft.com/office/drawing/2014/main" id="{AC7B790B-750E-4BF8-B36F-455BEA2B971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26846374"/>
                  </p:ext>
                </p:extLst>
              </p:nvPr>
            </p:nvGraphicFramePr>
            <p:xfrm>
              <a:off x="7791469" y="2266950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D8347770-5590-4D60-AD07-395E00E4A5B4}">
                    <psez:zmPr id="{7751823A-8B7B-47CC-A164-6E974833D78F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4" name="Section Zoom 13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AC7B790B-750E-4BF8-B36F-455BEA2B971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7791469" y="2266950"/>
                <a:ext cx="3048000" cy="171450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6" name="Slide Zoom 15"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62987331"/>
                  </p:ext>
                </p:extLst>
              </p:nvPr>
            </p:nvGraphicFramePr>
            <p:xfrm>
              <a:off x="890451" y="2266950"/>
              <a:ext cx="1463040" cy="822960"/>
            </p:xfrm>
            <a:graphic>
              <a:graphicData uri="http://schemas.microsoft.com/office/powerpoint/2016/slidezoom">
                <pslz:sldZm>
                  <pslz:sldZmObj sldId="258" cId="1577662384">
                    <pslz:zmPr id="{2B1AFEA9-5748-4715-A442-AC3FF983E002}" transitionDur="1000">
                      <p166:blipFill xmlns:p166="http://schemas.microsoft.com/office/powerpoint/2016/6/main">
                        <a:blip r:embed="rId2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6" name="Slide Zoom 15">
                <a:hlinkClick r:id="rId24" action="ppaction://hlinksldjump"/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90451" y="2266950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8" name="Slide Zoom 27"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58667108"/>
                  </p:ext>
                </p:extLst>
              </p:nvPr>
            </p:nvGraphicFramePr>
            <p:xfrm>
              <a:off x="890451" y="3186833"/>
              <a:ext cx="1463040" cy="822960"/>
            </p:xfrm>
            <a:graphic>
              <a:graphicData uri="http://schemas.microsoft.com/office/powerpoint/2016/slidezoom">
                <pslz:sldZm>
                  <pslz:sldZmObj sldId="259" cId="2362446551">
                    <pslz:zmPr id="{963233F1-FE5E-451D-961C-22A20AA01AD4}" transitionDur="1000">
                      <p166:blipFill xmlns:p166="http://schemas.microsoft.com/office/powerpoint/2016/6/main">
                        <a:blip r:embed="rId2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8" name="Slide Zoom 27">
                <a:hlinkClick r:id="rId27" action="ppaction://hlinksldjump"/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890451" y="3186833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0" name="Slide Zoom 29">
                <a:extLst>
                  <a:ext uri="{FF2B5EF4-FFF2-40B4-BE49-F238E27FC236}">
                    <a16:creationId xmlns:a16="http://schemas.microsoft.com/office/drawing/2014/main" id="{6C0617A1-19DC-4C19-AC5A-35D3CABF164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01543352"/>
                  </p:ext>
                </p:extLst>
              </p:nvPr>
            </p:nvGraphicFramePr>
            <p:xfrm>
              <a:off x="890451" y="4106717"/>
              <a:ext cx="1463040" cy="822960"/>
            </p:xfrm>
            <a:graphic>
              <a:graphicData uri="http://schemas.microsoft.com/office/powerpoint/2016/slidezoom">
                <pslz:sldZm>
                  <pslz:sldZmObj sldId="260" cId="676304674">
                    <pslz:zmPr id="{C9C54784-E90D-4D44-BDEB-4D863292A2D0}" transitionDur="1000">
                      <p166:blipFill xmlns:p166="http://schemas.microsoft.com/office/powerpoint/2016/6/main">
                        <a:blip r:embed="rId2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0" name="Slide Zoom 29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6C0617A1-19DC-4C19-AC5A-35D3CABF164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890451" y="410671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2" name="Slide Zoom 31">
                <a:extLst>
                  <a:ext uri="{FF2B5EF4-FFF2-40B4-BE49-F238E27FC236}">
                    <a16:creationId xmlns:a16="http://schemas.microsoft.com/office/drawing/2014/main" id="{A581D09E-37EE-495F-B46C-83B6D124F62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04884863"/>
                  </p:ext>
                </p:extLst>
              </p:nvPr>
            </p:nvGraphicFramePr>
            <p:xfrm>
              <a:off x="9376429" y="5054944"/>
              <a:ext cx="1463040" cy="822960"/>
            </p:xfrm>
            <a:graphic>
              <a:graphicData uri="http://schemas.microsoft.com/office/powerpoint/2016/slidezoom">
                <pslz:sldZm>
                  <pslz:sldZmObj sldId="273" cId="3023162489">
                    <pslz:zmPr id="{D17C0720-AC53-4C67-B2A6-6C7B23721464}" transitionDur="1000">
                      <p166:blipFill xmlns:p166="http://schemas.microsoft.com/office/powerpoint/2016/6/main">
                        <a:blip r:embed="rId3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2" name="Slide Zoom 31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A581D09E-37EE-495F-B46C-83B6D124F62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9376429" y="5054944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4" name="Slide Zoom 33">
                <a:extLst>
                  <a:ext uri="{FF2B5EF4-FFF2-40B4-BE49-F238E27FC236}">
                    <a16:creationId xmlns:a16="http://schemas.microsoft.com/office/drawing/2014/main" id="{B190034F-4970-4717-9F30-57807508A27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7653698"/>
                  </p:ext>
                </p:extLst>
              </p:nvPr>
            </p:nvGraphicFramePr>
            <p:xfrm>
              <a:off x="7791469" y="5054944"/>
              <a:ext cx="1463040" cy="822960"/>
            </p:xfrm>
            <a:graphic>
              <a:graphicData uri="http://schemas.microsoft.com/office/powerpoint/2016/slidezoom">
                <pslz:sldZm>
                  <pslz:sldZmObj sldId="274" cId="805526503">
                    <pslz:zmPr id="{11C611CC-3A4D-4527-86A6-A10544E7DC8E}" transitionDur="1000">
                      <p166:blipFill xmlns:p166="http://schemas.microsoft.com/office/powerpoint/2016/6/main">
                        <a:blip r:embed="rId3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4" name="Slide Zoom 33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B190034F-4970-4717-9F30-57807508A27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7791469" y="5054944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6" name="Slide Zoom 35">
                <a:extLst>
                  <a:ext uri="{FF2B5EF4-FFF2-40B4-BE49-F238E27FC236}">
                    <a16:creationId xmlns:a16="http://schemas.microsoft.com/office/drawing/2014/main" id="{0B181B32-398E-4F5F-87D0-9DD2418044D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77090113"/>
                  </p:ext>
                </p:extLst>
              </p:nvPr>
            </p:nvGraphicFramePr>
            <p:xfrm>
              <a:off x="7791469" y="4106717"/>
              <a:ext cx="1463040" cy="822960"/>
            </p:xfrm>
            <a:graphic>
              <a:graphicData uri="http://schemas.microsoft.com/office/powerpoint/2016/slidezoom">
                <pslz:sldZm>
                  <pslz:sldZmObj sldId="275" cId="4121558656">
                    <pslz:zmPr id="{2EF0E5D1-FAF4-457A-B9DD-C5501931729C}" transitionDur="100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6" name="Slide Zoom 35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0B181B32-398E-4F5F-87D0-9DD2418044D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7791469" y="410671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8" name="Slide Zoom 37">
                <a:extLst>
                  <a:ext uri="{FF2B5EF4-FFF2-40B4-BE49-F238E27FC236}">
                    <a16:creationId xmlns:a16="http://schemas.microsoft.com/office/drawing/2014/main" id="{A82BB20D-DCA6-4DCE-9F99-ABB1F80094D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25042887"/>
                  </p:ext>
                </p:extLst>
              </p:nvPr>
            </p:nvGraphicFramePr>
            <p:xfrm>
              <a:off x="9376429" y="4106717"/>
              <a:ext cx="1463040" cy="822960"/>
            </p:xfrm>
            <a:graphic>
              <a:graphicData uri="http://schemas.microsoft.com/office/powerpoint/2016/slidezoom">
                <pslz:sldZm>
                  <pslz:sldZmObj sldId="277" cId="4249059035">
                    <pslz:zmPr id="{6A2F6C54-6FBC-4DC5-93D8-B654A221C52D}" transitionDur="1000">
                      <p166:blipFill xmlns:p166="http://schemas.microsoft.com/office/powerpoint/2016/6/main">
                        <a:blip r:embed="rId4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8" name="Slide Zoom 37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A82BB20D-DCA6-4DCE-9F99-ABB1F80094D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9376429" y="4106717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F820699-D8C9-46E7-B22A-7E2EBCDD2B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590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F820699-D8C9-46E7-B22A-7E2EBCDD2B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127A0B-500C-4951-93A4-425343391E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altLang="de-DE" sz="1000" dirty="0">
              <a:sym typeface="+mn-lt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2843C13E-AAC6-4A34-9AAA-F34BEAF046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2524759"/>
              </p:ext>
            </p:extLst>
          </p:nvPr>
        </p:nvGraphicFramePr>
        <p:xfrm>
          <a:off x="587376" y="2432050"/>
          <a:ext cx="4843461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7BDEBE16-6C7E-4747-B337-649E8E66E0D8}"/>
              </a:ext>
            </a:extLst>
          </p:cNvPr>
          <p:cNvSpPr txBox="1"/>
          <p:nvPr/>
        </p:nvSpPr>
        <p:spPr>
          <a:xfrm>
            <a:off x="587376" y="1398588"/>
            <a:ext cx="3264534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3"/>
                </a:solidFill>
              </a:rPr>
              <a:t>CHART TITLE 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A7A9D6-8252-452E-806D-FA0F40CE0FF5}"/>
              </a:ext>
            </a:extLst>
          </p:cNvPr>
          <p:cNvSpPr txBox="1"/>
          <p:nvPr/>
        </p:nvSpPr>
        <p:spPr>
          <a:xfrm>
            <a:off x="6096000" y="1398588"/>
            <a:ext cx="3264534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3"/>
                </a:solidFill>
              </a:rPr>
              <a:t>CHART TITLE B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719FFDE-F7A5-4341-8B2A-4FED2C46B8A3}"/>
              </a:ext>
            </a:extLst>
          </p:cNvPr>
          <p:cNvSpPr txBox="1"/>
          <p:nvPr/>
        </p:nvSpPr>
        <p:spPr>
          <a:xfrm>
            <a:off x="587376" y="1837333"/>
            <a:ext cx="3264534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mple </a:t>
            </a:r>
            <a:r>
              <a:rPr lang="de-DE" altLang="de-DE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ader</a:t>
            </a:r>
            <a:endParaRPr lang="de-DE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CCDF516-0A7A-4AA1-8C70-6B1AF562DFDB}"/>
              </a:ext>
            </a:extLst>
          </p:cNvPr>
          <p:cNvSpPr txBox="1"/>
          <p:nvPr/>
        </p:nvSpPr>
        <p:spPr>
          <a:xfrm>
            <a:off x="6096000" y="1837333"/>
            <a:ext cx="3264534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1600">
                <a:solidFill>
                  <a:schemeClr val="tx1">
                    <a:lumMod val="75000"/>
                    <a:lumOff val="25000"/>
                  </a:schemeClr>
                </a:solidFill>
              </a:rPr>
              <a:t>Sample header</a:t>
            </a:r>
            <a:endParaRPr lang="de-DE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53290720-7571-47D1-8D8E-0D27620C5A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8980204"/>
              </p:ext>
            </p:extLst>
          </p:nvPr>
        </p:nvGraphicFramePr>
        <p:xfrm>
          <a:off x="6096000" y="2432050"/>
          <a:ext cx="4843461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15586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F820699-D8C9-46E7-B22A-7E2EBCDD2B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F820699-D8C9-46E7-B22A-7E2EBCDD2B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127A0B-500C-4951-93A4-425343391E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altLang="de-DE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1A9EA16-CD6F-4691-9243-A5821CCFD0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3545422"/>
              </p:ext>
            </p:extLst>
          </p:nvPr>
        </p:nvGraphicFramePr>
        <p:xfrm>
          <a:off x="587375" y="1398588"/>
          <a:ext cx="6448425" cy="493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34BD6D3-287F-4558-913E-D438FE0CF65C}"/>
              </a:ext>
            </a:extLst>
          </p:cNvPr>
          <p:cNvSpPr txBox="1"/>
          <p:nvPr/>
        </p:nvSpPr>
        <p:spPr>
          <a:xfrm>
            <a:off x="7480302" y="1398588"/>
            <a:ext cx="2388090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TITLE FOR </a:t>
            </a:r>
            <a:br>
              <a:rPr lang="de-DE" altLang="de-DE" sz="2800" spc="300" dirty="0">
                <a:solidFill>
                  <a:schemeClr val="accent1"/>
                </a:solidFill>
              </a:rPr>
            </a:br>
            <a:r>
              <a:rPr lang="de-DE" altLang="de-DE" sz="2800" spc="300" dirty="0">
                <a:solidFill>
                  <a:schemeClr val="accent1"/>
                </a:solidFill>
              </a:rPr>
              <a:t>THIS CHAR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CF46458-6203-4E55-B4C8-EAA17811E851}"/>
              </a:ext>
            </a:extLst>
          </p:cNvPr>
          <p:cNvSpPr txBox="1"/>
          <p:nvPr/>
        </p:nvSpPr>
        <p:spPr>
          <a:xfrm>
            <a:off x="7480303" y="2543493"/>
            <a:ext cx="4132260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e morning, when Gregor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msa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woke from troubled dreams, he found himself transformed in his bed into a horrible vermin. He lay on his armor-like back, and if he lifted his head a little, he could see his brown belly, slightly domed and divided by arches into stiff sections. </a:t>
            </a:r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3C77901-F9CD-4EF0-9FEE-1E0E139AD784}"/>
              </a:ext>
            </a:extLst>
          </p:cNvPr>
          <p:cNvSpPr txBox="1"/>
          <p:nvPr/>
        </p:nvSpPr>
        <p:spPr>
          <a:xfrm>
            <a:off x="7480302" y="5034480"/>
            <a:ext cx="1712007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accent1"/>
                </a:solidFill>
              </a:rPr>
              <a:t>CONCLUS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AB9DCA4-249E-4166-9037-995CF911C795}"/>
              </a:ext>
            </a:extLst>
          </p:cNvPr>
          <p:cNvSpPr txBox="1"/>
          <p:nvPr/>
        </p:nvSpPr>
        <p:spPr>
          <a:xfrm>
            <a:off x="7480302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D84191-719D-4C5F-83B5-AC40B2DEA976}"/>
              </a:ext>
            </a:extLst>
          </p:cNvPr>
          <p:cNvSpPr txBox="1"/>
          <p:nvPr/>
        </p:nvSpPr>
        <p:spPr>
          <a:xfrm>
            <a:off x="8233681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92A7978-FE5A-4769-8C19-D3266D151854}"/>
              </a:ext>
            </a:extLst>
          </p:cNvPr>
          <p:cNvSpPr txBox="1"/>
          <p:nvPr/>
        </p:nvSpPr>
        <p:spPr>
          <a:xfrm>
            <a:off x="8987060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0196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B8ACF1C-A53A-4255-BFC9-7B8BE574D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812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B8ACF1C-A53A-4255-BFC9-7B8BE574DE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C2753C-9722-4B34-BA3C-B9CE56CC0C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altLang="de-DE" sz="1000" kern="0" dirty="0" err="1">
              <a:solidFill>
                <a:schemeClr val="tx1"/>
              </a:solidFill>
              <a:latin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37578E6-D4F1-4431-8FE9-26BDE3814792}"/>
              </a:ext>
            </a:extLst>
          </p:cNvPr>
          <p:cNvSpPr txBox="1"/>
          <p:nvPr/>
        </p:nvSpPr>
        <p:spPr>
          <a:xfrm>
            <a:off x="587375" y="1398588"/>
            <a:ext cx="2388090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TITLE FOR </a:t>
            </a:r>
            <a:br>
              <a:rPr lang="de-DE" altLang="de-DE" sz="2800" spc="300" dirty="0">
                <a:solidFill>
                  <a:schemeClr val="accent1"/>
                </a:solidFill>
              </a:rPr>
            </a:br>
            <a:r>
              <a:rPr lang="de-DE" altLang="de-DE" sz="2800" spc="300" dirty="0">
                <a:solidFill>
                  <a:schemeClr val="accent1"/>
                </a:solidFill>
              </a:rPr>
              <a:t>THIS CHAR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D2707F-0D59-40F2-8C53-A1CA0D519909}"/>
              </a:ext>
            </a:extLst>
          </p:cNvPr>
          <p:cNvSpPr txBox="1"/>
          <p:nvPr/>
        </p:nvSpPr>
        <p:spPr>
          <a:xfrm>
            <a:off x="587376" y="2543493"/>
            <a:ext cx="4944744" cy="193899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e morning, when Gregor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msa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woke from troubled dreams, he found himself transformed in his bed into a horrible vermin. He lay on his armor-like back, and if he lifted his head a little, he could see his brown belly, slightly domed and divided by arches into stiff sections. </a:t>
            </a:r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EB3BC5-A6E7-471E-AE70-615B469AEB68}"/>
              </a:ext>
            </a:extLst>
          </p:cNvPr>
          <p:cNvSpPr txBox="1"/>
          <p:nvPr/>
        </p:nvSpPr>
        <p:spPr>
          <a:xfrm>
            <a:off x="587375" y="5034480"/>
            <a:ext cx="1712007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accent1"/>
                </a:solidFill>
              </a:rPr>
              <a:t>CONCLU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DC8994-7331-433D-BB65-2748A7911CF5}"/>
              </a:ext>
            </a:extLst>
          </p:cNvPr>
          <p:cNvSpPr txBox="1"/>
          <p:nvPr/>
        </p:nvSpPr>
        <p:spPr>
          <a:xfrm>
            <a:off x="587375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E74777-2375-434E-8597-234680A3CBB4}"/>
              </a:ext>
            </a:extLst>
          </p:cNvPr>
          <p:cNvSpPr txBox="1"/>
          <p:nvPr/>
        </p:nvSpPr>
        <p:spPr>
          <a:xfrm>
            <a:off x="1340754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4BAC8F7-71F8-4ABD-9CE8-5D80A6F9108F}"/>
              </a:ext>
            </a:extLst>
          </p:cNvPr>
          <p:cNvSpPr txBox="1"/>
          <p:nvPr/>
        </p:nvSpPr>
        <p:spPr>
          <a:xfrm>
            <a:off x="2094133" y="5453105"/>
            <a:ext cx="512961" cy="30777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%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9D72427-FE04-4B58-B41F-74581472E3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3764799"/>
              </p:ext>
            </p:extLst>
          </p:nvPr>
        </p:nvGraphicFramePr>
        <p:xfrm>
          <a:off x="4959349" y="1102255"/>
          <a:ext cx="7677152" cy="511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9059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177B33-B554-4A4B-86C2-5A3E9EC75F4C}"/>
              </a:ext>
            </a:extLst>
          </p:cNvPr>
          <p:cNvSpPr/>
          <p:nvPr/>
        </p:nvSpPr>
        <p:spPr>
          <a:xfrm>
            <a:off x="1719335" y="2435327"/>
            <a:ext cx="2754139" cy="2220995"/>
          </a:xfrm>
          <a:custGeom>
            <a:avLst/>
            <a:gdLst/>
            <a:ahLst/>
            <a:cxnLst/>
            <a:rect l="l" t="t" r="r" b="b"/>
            <a:pathLst>
              <a:path w="2754139" h="2220995">
                <a:moveTo>
                  <a:pt x="706208" y="345686"/>
                </a:moveTo>
                <a:cubicBezTo>
                  <a:pt x="655765" y="345686"/>
                  <a:pt x="610762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30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2415871" y="0"/>
                </a:moveTo>
                <a:lnTo>
                  <a:pt x="2754139" y="0"/>
                </a:lnTo>
                <a:lnTo>
                  <a:pt x="2754139" y="2183904"/>
                </a:lnTo>
                <a:lnTo>
                  <a:pt x="2337239" y="2183904"/>
                </a:lnTo>
                <a:lnTo>
                  <a:pt x="2337239" y="612740"/>
                </a:lnTo>
                <a:cubicBezTo>
                  <a:pt x="2184920" y="755168"/>
                  <a:pt x="2005400" y="860506"/>
                  <a:pt x="1798681" y="928753"/>
                </a:cubicBezTo>
                <a:lnTo>
                  <a:pt x="1798681" y="550427"/>
                </a:lnTo>
                <a:cubicBezTo>
                  <a:pt x="1907481" y="514820"/>
                  <a:pt x="2025677" y="447315"/>
                  <a:pt x="2153269" y="347912"/>
                </a:cubicBezTo>
                <a:cubicBezTo>
                  <a:pt x="2280861" y="248508"/>
                  <a:pt x="2368395" y="132538"/>
                  <a:pt x="2415871" y="0"/>
                </a:cubicBez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7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3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blipFill>
            <a:blip r:embed="rId6"/>
            <a:stretch>
              <a:fillRect r="-37232" b="-37232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420703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ALL CAPS | WHITE COLOR FO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1519070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accent5"/>
                </a:solidFill>
              </a:rPr>
              <a:t>TEXT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7" grpId="0" animBg="1"/>
      <p:bldP spid="8" grpId="0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29B984C-5D4E-4199-87F2-EF1519F4C266}"/>
              </a:ext>
            </a:extLst>
          </p:cNvPr>
          <p:cNvSpPr/>
          <p:nvPr/>
        </p:nvSpPr>
        <p:spPr>
          <a:xfrm>
            <a:off x="1717633" y="2394948"/>
            <a:ext cx="3156203" cy="2220995"/>
          </a:xfrm>
          <a:custGeom>
            <a:avLst/>
            <a:gdLst/>
            <a:ahLst/>
            <a:cxnLst/>
            <a:rect l="l" t="t" r="r" b="b"/>
            <a:pathLst>
              <a:path w="3156203" h="2220995">
                <a:moveTo>
                  <a:pt x="706208" y="345686"/>
                </a:moveTo>
                <a:cubicBezTo>
                  <a:pt x="655765" y="345686"/>
                  <a:pt x="610761" y="361759"/>
                  <a:pt x="571198" y="393904"/>
                </a:cubicBezTo>
                <a:cubicBezTo>
                  <a:pt x="531635" y="426049"/>
                  <a:pt x="500973" y="483664"/>
                  <a:pt x="479213" y="566747"/>
                </a:cubicBezTo>
                <a:cubicBezTo>
                  <a:pt x="450529" y="674558"/>
                  <a:pt x="436188" y="856055"/>
                  <a:pt x="436188" y="1111239"/>
                </a:cubicBezTo>
                <a:cubicBezTo>
                  <a:pt x="436188" y="1366424"/>
                  <a:pt x="449046" y="1541739"/>
                  <a:pt x="474762" y="1637186"/>
                </a:cubicBezTo>
                <a:cubicBezTo>
                  <a:pt x="500478" y="1732633"/>
                  <a:pt x="532871" y="1796182"/>
                  <a:pt x="571940" y="1827833"/>
                </a:cubicBezTo>
                <a:cubicBezTo>
                  <a:pt x="611009" y="1859484"/>
                  <a:pt x="655765" y="1875309"/>
                  <a:pt x="706208" y="1875309"/>
                </a:cubicBezTo>
                <a:cubicBezTo>
                  <a:pt x="756652" y="1875309"/>
                  <a:pt x="801655" y="1859236"/>
                  <a:pt x="841219" y="1827091"/>
                </a:cubicBezTo>
                <a:cubicBezTo>
                  <a:pt x="880782" y="1794946"/>
                  <a:pt x="911444" y="1737331"/>
                  <a:pt x="933204" y="1654248"/>
                </a:cubicBezTo>
                <a:cubicBezTo>
                  <a:pt x="961887" y="1547427"/>
                  <a:pt x="976229" y="1366424"/>
                  <a:pt x="976229" y="1111239"/>
                </a:cubicBezTo>
                <a:cubicBezTo>
                  <a:pt x="976229" y="856055"/>
                  <a:pt x="963371" y="680739"/>
                  <a:pt x="937655" y="585292"/>
                </a:cubicBezTo>
                <a:cubicBezTo>
                  <a:pt x="911939" y="489846"/>
                  <a:pt x="879546" y="426049"/>
                  <a:pt x="840477" y="393904"/>
                </a:cubicBezTo>
                <a:cubicBezTo>
                  <a:pt x="801408" y="361759"/>
                  <a:pt x="756652" y="345686"/>
                  <a:pt x="706208" y="345686"/>
                </a:cubicBezTo>
                <a:close/>
                <a:moveTo>
                  <a:pt x="1957430" y="38575"/>
                </a:moveTo>
                <a:lnTo>
                  <a:pt x="3059767" y="38575"/>
                </a:lnTo>
                <a:lnTo>
                  <a:pt x="3059767" y="428769"/>
                </a:lnTo>
                <a:lnTo>
                  <a:pt x="2273443" y="428769"/>
                </a:lnTo>
                <a:lnTo>
                  <a:pt x="2208163" y="798193"/>
                </a:lnTo>
                <a:cubicBezTo>
                  <a:pt x="2301137" y="751706"/>
                  <a:pt x="2396090" y="728463"/>
                  <a:pt x="2493020" y="728463"/>
                </a:cubicBezTo>
                <a:cubicBezTo>
                  <a:pt x="2677980" y="728463"/>
                  <a:pt x="2834750" y="795721"/>
                  <a:pt x="2963331" y="930237"/>
                </a:cubicBezTo>
                <a:cubicBezTo>
                  <a:pt x="3091912" y="1064752"/>
                  <a:pt x="3156203" y="1239326"/>
                  <a:pt x="3156203" y="1453958"/>
                </a:cubicBezTo>
                <a:cubicBezTo>
                  <a:pt x="3156203" y="1632983"/>
                  <a:pt x="3104276" y="1792720"/>
                  <a:pt x="3000422" y="1933170"/>
                </a:cubicBezTo>
                <a:cubicBezTo>
                  <a:pt x="2858983" y="2125054"/>
                  <a:pt x="2662649" y="2220995"/>
                  <a:pt x="2411421" y="2220995"/>
                </a:cubicBezTo>
                <a:cubicBezTo>
                  <a:pt x="2210636" y="2220995"/>
                  <a:pt x="2046942" y="2167090"/>
                  <a:pt x="1920339" y="2059279"/>
                </a:cubicBezTo>
                <a:cubicBezTo>
                  <a:pt x="1793736" y="1951469"/>
                  <a:pt x="1718071" y="1806567"/>
                  <a:pt x="1693344" y="1624575"/>
                </a:cubicBezTo>
                <a:lnTo>
                  <a:pt x="2108760" y="1581550"/>
                </a:lnTo>
                <a:cubicBezTo>
                  <a:pt x="2120629" y="1675514"/>
                  <a:pt x="2155742" y="1749942"/>
                  <a:pt x="2214098" y="1804836"/>
                </a:cubicBezTo>
                <a:cubicBezTo>
                  <a:pt x="2272454" y="1859731"/>
                  <a:pt x="2339712" y="1887178"/>
                  <a:pt x="2415872" y="1887178"/>
                </a:cubicBezTo>
                <a:cubicBezTo>
                  <a:pt x="2502911" y="1887178"/>
                  <a:pt x="2576598" y="1851818"/>
                  <a:pt x="2636932" y="1781098"/>
                </a:cubicBezTo>
                <a:cubicBezTo>
                  <a:pt x="2697267" y="1710379"/>
                  <a:pt x="2727434" y="1603805"/>
                  <a:pt x="2727434" y="1461376"/>
                </a:cubicBezTo>
                <a:cubicBezTo>
                  <a:pt x="2727434" y="1327849"/>
                  <a:pt x="2697514" y="1227704"/>
                  <a:pt x="2637674" y="1160941"/>
                </a:cubicBezTo>
                <a:cubicBezTo>
                  <a:pt x="2577835" y="1094178"/>
                  <a:pt x="2499944" y="1060796"/>
                  <a:pt x="2404002" y="1060796"/>
                </a:cubicBezTo>
                <a:cubicBezTo>
                  <a:pt x="2284323" y="1060796"/>
                  <a:pt x="2177007" y="1113712"/>
                  <a:pt x="2082055" y="1219544"/>
                </a:cubicBezTo>
                <a:lnTo>
                  <a:pt x="1743787" y="1170585"/>
                </a:lnTo>
                <a:close/>
                <a:moveTo>
                  <a:pt x="706208" y="0"/>
                </a:moveTo>
                <a:cubicBezTo>
                  <a:pt x="916884" y="0"/>
                  <a:pt x="1081567" y="75171"/>
                  <a:pt x="1200257" y="225512"/>
                </a:cubicBezTo>
                <a:cubicBezTo>
                  <a:pt x="1341697" y="403548"/>
                  <a:pt x="1412417" y="698790"/>
                  <a:pt x="1412417" y="1111239"/>
                </a:cubicBezTo>
                <a:cubicBezTo>
                  <a:pt x="1412417" y="1522700"/>
                  <a:pt x="1341202" y="1818436"/>
                  <a:pt x="1198774" y="1998450"/>
                </a:cubicBezTo>
                <a:cubicBezTo>
                  <a:pt x="1081072" y="2146813"/>
                  <a:pt x="916884" y="2220995"/>
                  <a:pt x="706208" y="2220995"/>
                </a:cubicBezTo>
                <a:cubicBezTo>
                  <a:pt x="494544" y="2220995"/>
                  <a:pt x="323926" y="2139642"/>
                  <a:pt x="194356" y="1976938"/>
                </a:cubicBezTo>
                <a:cubicBezTo>
                  <a:pt x="64786" y="1814233"/>
                  <a:pt x="0" y="1524183"/>
                  <a:pt x="0" y="1106789"/>
                </a:cubicBezTo>
                <a:cubicBezTo>
                  <a:pt x="0" y="697307"/>
                  <a:pt x="71215" y="402559"/>
                  <a:pt x="213643" y="222545"/>
                </a:cubicBezTo>
                <a:cubicBezTo>
                  <a:pt x="331345" y="74182"/>
                  <a:pt x="495533" y="0"/>
                  <a:pt x="706208" y="0"/>
                </a:cubicBezTo>
                <a:close/>
              </a:path>
            </a:pathLst>
          </a:custGeom>
          <a:blipFill>
            <a:blip r:embed="rId6"/>
            <a:stretch>
              <a:fillRect r="-37232" b="-3723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2119170" cy="1107996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SECTION </a:t>
            </a:r>
            <a:br>
              <a:rPr lang="de-DE" altLang="de-DE" sz="3600" dirty="0">
                <a:latin typeface="+mj-lt"/>
              </a:rPr>
            </a:br>
            <a:r>
              <a:rPr lang="de-DE" altLang="de-DE" sz="3600" dirty="0">
                <a:latin typeface="+mj-lt"/>
              </a:rPr>
              <a:t>TITLE 0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1519070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accent5"/>
                </a:solidFill>
              </a:rPr>
              <a:t>TEXT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1881550-F15A-499A-A3DE-4F8E4F849966}"/>
              </a:ext>
            </a:extLst>
          </p:cNvPr>
          <p:cNvSpPr/>
          <p:nvPr/>
        </p:nvSpPr>
        <p:spPr>
          <a:xfrm>
            <a:off x="1779123" y="2452849"/>
            <a:ext cx="3000422" cy="2183904"/>
          </a:xfrm>
          <a:custGeom>
            <a:avLst/>
            <a:gdLst/>
            <a:ahLst/>
            <a:cxnLst/>
            <a:rect l="l" t="t" r="r" b="b"/>
            <a:pathLst>
              <a:path w="3000422" h="2183904">
                <a:moveTo>
                  <a:pt x="1574653" y="38575"/>
                </a:moveTo>
                <a:lnTo>
                  <a:pt x="3000422" y="38575"/>
                </a:lnTo>
                <a:lnTo>
                  <a:pt x="3000422" y="341235"/>
                </a:lnTo>
                <a:cubicBezTo>
                  <a:pt x="2882721" y="456958"/>
                  <a:pt x="2763041" y="623125"/>
                  <a:pt x="2641383" y="839735"/>
                </a:cubicBezTo>
                <a:cubicBezTo>
                  <a:pt x="2519726" y="1056345"/>
                  <a:pt x="2426999" y="1286555"/>
                  <a:pt x="2363203" y="1530365"/>
                </a:cubicBezTo>
                <a:cubicBezTo>
                  <a:pt x="2299406" y="1774175"/>
                  <a:pt x="2268003" y="1992021"/>
                  <a:pt x="2268992" y="2183904"/>
                </a:cubicBezTo>
                <a:lnTo>
                  <a:pt x="1866928" y="2183904"/>
                </a:lnTo>
                <a:cubicBezTo>
                  <a:pt x="1873852" y="1883222"/>
                  <a:pt x="1935917" y="1576605"/>
                  <a:pt x="2053124" y="1264053"/>
                </a:cubicBezTo>
                <a:cubicBezTo>
                  <a:pt x="2170331" y="951502"/>
                  <a:pt x="2326854" y="672085"/>
                  <a:pt x="2522693" y="425802"/>
                </a:cubicBezTo>
                <a:lnTo>
                  <a:pt x="1574653" y="425802"/>
                </a:lnTo>
                <a:close/>
                <a:moveTo>
                  <a:pt x="617191" y="0"/>
                </a:moveTo>
                <a:lnTo>
                  <a:pt x="955458" y="0"/>
                </a:lnTo>
                <a:lnTo>
                  <a:pt x="955458" y="2183904"/>
                </a:lnTo>
                <a:lnTo>
                  <a:pt x="538558" y="2183904"/>
                </a:lnTo>
                <a:lnTo>
                  <a:pt x="538558" y="612740"/>
                </a:lnTo>
                <a:cubicBezTo>
                  <a:pt x="386239" y="755168"/>
                  <a:pt x="206720" y="860506"/>
                  <a:pt x="0" y="928753"/>
                </a:cubicBezTo>
                <a:lnTo>
                  <a:pt x="0" y="550427"/>
                </a:lnTo>
                <a:cubicBezTo>
                  <a:pt x="108800" y="514820"/>
                  <a:pt x="226996" y="447315"/>
                  <a:pt x="354588" y="347912"/>
                </a:cubicBezTo>
                <a:cubicBezTo>
                  <a:pt x="482180" y="248508"/>
                  <a:pt x="569714" y="132538"/>
                  <a:pt x="617191" y="0"/>
                </a:cubicBezTo>
                <a:close/>
              </a:path>
            </a:pathLst>
          </a:custGeom>
          <a:blipFill>
            <a:blip r:embed="rId6"/>
            <a:stretch>
              <a:fillRect l="2" t="1" r="-3591" b="-3589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566250"/>
            <a:ext cx="6691086" cy="3725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2119170" cy="1107996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SECTION </a:t>
            </a:r>
            <a:br>
              <a:rPr lang="de-DE" altLang="de-DE" sz="3600" dirty="0">
                <a:latin typeface="+mj-lt"/>
              </a:rPr>
            </a:br>
            <a:r>
              <a:rPr lang="de-DE" altLang="de-DE" sz="3600" dirty="0">
                <a:latin typeface="+mj-lt"/>
              </a:rPr>
              <a:t>TITLE 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847372" y="3616178"/>
            <a:ext cx="1519070" cy="369332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accent5"/>
                </a:solidFill>
              </a:rPr>
              <a:t>TEXT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7" grpId="0" animBg="1"/>
      <p:bldP spid="8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355917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ALL CAPS | LO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603920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xt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ck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|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ghter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5%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644659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25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970" r="63135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E635C0-0A4F-4FF1-AC1C-6F87AFF4380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8589" r="32026"/>
          <a:stretch/>
        </p:blipFill>
        <p:spPr>
          <a:xfrm>
            <a:off x="4472503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3330CA1-E163-4DBE-8B55-0B4AFDF403A3}"/>
              </a:ext>
            </a:extLst>
          </p:cNvPr>
          <p:cNvSpPr txBox="1"/>
          <p:nvPr/>
        </p:nvSpPr>
        <p:spPr>
          <a:xfrm>
            <a:off x="3114952" y="5723088"/>
            <a:ext cx="1357551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11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DA940D-F95D-4E8D-BA9E-C4BAAFC44EE6}"/>
              </a:ext>
            </a:extLst>
          </p:cNvPr>
          <p:cNvSpPr txBox="1"/>
          <p:nvPr/>
        </p:nvSpPr>
        <p:spPr>
          <a:xfrm>
            <a:off x="5117167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83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353421" y="2749850"/>
            <a:ext cx="210314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HEADL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BF2DC3-8204-435C-A332-8E1567BA1C88}"/>
              </a:ext>
            </a:extLst>
          </p:cNvPr>
          <p:cNvSpPr txBox="1"/>
          <p:nvPr/>
        </p:nvSpPr>
        <p:spPr>
          <a:xfrm>
            <a:off x="7353421" y="3244334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353421" y="4759596"/>
            <a:ext cx="200067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EBBADB"/>
                </a:solidFill>
              </a:rPr>
              <a:t>HEADLI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97EFD4-6489-4164-AB76-879EBB281636}"/>
              </a:ext>
            </a:extLst>
          </p:cNvPr>
          <p:cNvSpPr txBox="1"/>
          <p:nvPr/>
        </p:nvSpPr>
        <p:spPr>
          <a:xfrm>
            <a:off x="7353421" y="5254080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316943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TEXT UP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869168"/>
            <a:ext cx="4309884" cy="27699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dirty="0"/>
              <a:t>DESCRIPTION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048" t="7745" r="32690" b="10369"/>
          <a:stretch/>
        </p:blipFill>
        <p:spPr>
          <a:xfrm>
            <a:off x="-7883" y="13119"/>
            <a:ext cx="6716640" cy="6844882"/>
          </a:xfrm>
          <a:prstGeom prst="rect">
            <a:avLst/>
          </a:prstGeom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0B278E0-B22E-401E-A5EB-A34D5D274BC3}"/>
              </a:ext>
            </a:extLst>
          </p:cNvPr>
          <p:cNvSpPr txBox="1"/>
          <p:nvPr/>
        </p:nvSpPr>
        <p:spPr>
          <a:xfrm>
            <a:off x="7183923" y="5723088"/>
            <a:ext cx="1591590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dirty="0"/>
              <a:t>25</a:t>
            </a:r>
            <a:r>
              <a:rPr lang="de-DE" altLang="de-DE" sz="4400" dirty="0"/>
              <a:t>%</a:t>
            </a:r>
            <a:endParaRPr lang="de-DE" altLang="de-DE" sz="6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355917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/>
              <a:t>ALL CAPS | LO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/>
              <a:t>TEXT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9383226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08" t="16550" r="41229" b="2029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384509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5"/>
                </a:solidFill>
              </a:rPr>
              <a:t>ALL CAPS | LO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TEXT HERE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08" t="16550" r="41229" b="2029"/>
          <a:stretch/>
        </p:blipFill>
        <p:spPr>
          <a:xfrm>
            <a:off x="558207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1FCB952-1BC3-4938-A049-E3ECA142A2D2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EVLb49SI6SfeFtBoGS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EVLb49SI6SfeFtBoGS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bXuQ4Qw2.xZdkIaWN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5648</TotalTime>
  <Words>528</Words>
  <Application>Microsoft Office PowerPoint</Application>
  <PresentationFormat>Widescreen</PresentationFormat>
  <Paragraphs>137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Segoe UI Black</vt:lpstr>
      <vt:lpstr>Segoe UI Semibold</vt:lpstr>
      <vt:lpstr>Level up! PowerPoint</vt:lpstr>
      <vt:lpstr>think-cell Slide</vt:lpstr>
      <vt:lpstr>PowerPoint Presentation</vt:lpstr>
      <vt:lpstr>Mood Board created with zo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Sitesh K. S</cp:lastModifiedBy>
  <cp:revision>83</cp:revision>
  <dcterms:created xsi:type="dcterms:W3CDTF">2018-05-09T07:34:30Z</dcterms:created>
  <dcterms:modified xsi:type="dcterms:W3CDTF">2023-09-19T13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